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5.xml" ContentType="application/vnd.openxmlformats-officedocument.them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heme/theme6.xml" ContentType="application/vnd.openxmlformats-officedocument.theme+xml"/>
  <Override PartName="/ppt/tags/tag34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4" r:id="rId2"/>
    <p:sldMasterId id="2147483667" r:id="rId3"/>
    <p:sldMasterId id="2147483698" r:id="rId4"/>
    <p:sldMasterId id="2147483914" r:id="rId5"/>
  </p:sldMasterIdLst>
  <p:notesMasterIdLst>
    <p:notesMasterId r:id="rId23"/>
  </p:notesMasterIdLst>
  <p:sldIdLst>
    <p:sldId id="3856" r:id="rId6"/>
    <p:sldId id="3857" r:id="rId7"/>
    <p:sldId id="3858" r:id="rId8"/>
    <p:sldId id="3877" r:id="rId9"/>
    <p:sldId id="3859" r:id="rId10"/>
    <p:sldId id="3860" r:id="rId11"/>
    <p:sldId id="3875" r:id="rId12"/>
    <p:sldId id="3861" r:id="rId13"/>
    <p:sldId id="3863" r:id="rId14"/>
    <p:sldId id="3874" r:id="rId15"/>
    <p:sldId id="3871" r:id="rId16"/>
    <p:sldId id="3872" r:id="rId17"/>
    <p:sldId id="3879" r:id="rId18"/>
    <p:sldId id="3873" r:id="rId19"/>
    <p:sldId id="3878" r:id="rId20"/>
    <p:sldId id="3876" r:id="rId21"/>
    <p:sldId id="937" r:id="rId22"/>
  </p:sldIdLst>
  <p:sldSz cx="12187238" cy="6859588"/>
  <p:notesSz cx="7023100" cy="9309100"/>
  <p:custDataLst>
    <p:tags r:id="rId24"/>
  </p:custDataLst>
  <p:defaultTextStyle>
    <a:defPPr>
      <a:defRPr lang="en-US"/>
    </a:defPPr>
    <a:lvl1pPr marL="0" algn="l" defTabSz="108820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102" algn="l" defTabSz="108820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204" algn="l" defTabSz="108820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2305" algn="l" defTabSz="108820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6407" algn="l" defTabSz="108820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0509" algn="l" defTabSz="108820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4611" algn="l" defTabSz="108820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08712" algn="l" defTabSz="108820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2814" algn="l" defTabSz="108820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+ Title Section" id="{BAA7CD81-EF62-4140-8AC8-E69F753417A8}">
          <p14:sldIdLst>
            <p14:sldId id="3856"/>
            <p14:sldId id="3857"/>
            <p14:sldId id="3858"/>
            <p14:sldId id="3877"/>
            <p14:sldId id="3859"/>
            <p14:sldId id="3860"/>
            <p14:sldId id="3875"/>
            <p14:sldId id="3861"/>
            <p14:sldId id="3863"/>
            <p14:sldId id="3874"/>
            <p14:sldId id="3871"/>
            <p14:sldId id="3872"/>
            <p14:sldId id="3879"/>
            <p14:sldId id="3873"/>
            <p14:sldId id="3878"/>
            <p14:sldId id="3876"/>
            <p14:sldId id="93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1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15356D"/>
    <a:srgbClr val="FFF2CC"/>
    <a:srgbClr val="FFC000"/>
    <a:srgbClr val="BF9000"/>
    <a:srgbClr val="548235"/>
    <a:srgbClr val="1C4792"/>
    <a:srgbClr val="99FF33"/>
    <a:srgbClr val="00CC66"/>
    <a:srgbClr val="E46C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748" autoAdjust="0"/>
    <p:restoredTop sz="89186" autoAdjust="0"/>
  </p:normalViewPr>
  <p:slideViewPr>
    <p:cSldViewPr>
      <p:cViewPr varScale="1">
        <p:scale>
          <a:sx n="99" d="100"/>
          <a:sy n="99" d="100"/>
        </p:scale>
        <p:origin x="182" y="67"/>
      </p:cViewPr>
      <p:guideLst>
        <p:guide orient="horz" pos="2161"/>
        <p:guide pos="3839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89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5"/>
            <a:ext cx="3043343" cy="465456"/>
          </a:xfrm>
          <a:prstGeom prst="rect">
            <a:avLst/>
          </a:prstGeom>
        </p:spPr>
        <p:txBody>
          <a:bodyPr vert="horz" lIns="91553" tIns="45776" rIns="91553" bIns="4577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7" y="5"/>
            <a:ext cx="3043343" cy="465456"/>
          </a:xfrm>
          <a:prstGeom prst="rect">
            <a:avLst/>
          </a:prstGeom>
        </p:spPr>
        <p:txBody>
          <a:bodyPr vert="horz" lIns="91553" tIns="45776" rIns="91553" bIns="45776" rtlCol="0"/>
          <a:lstStyle>
            <a:lvl1pPr algn="r">
              <a:defRPr sz="1200"/>
            </a:lvl1pPr>
          </a:lstStyle>
          <a:p>
            <a:fld id="{BA3478AF-F7F8-4E10-A063-9E3EDB200029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1163" y="700088"/>
            <a:ext cx="6200775" cy="34909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53" tIns="45776" rIns="91553" bIns="4577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6"/>
            <a:ext cx="5618480" cy="4189095"/>
          </a:xfrm>
          <a:prstGeom prst="rect">
            <a:avLst/>
          </a:prstGeom>
        </p:spPr>
        <p:txBody>
          <a:bodyPr vert="horz" lIns="91553" tIns="45776" rIns="91553" bIns="4577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" y="8842034"/>
            <a:ext cx="3043343" cy="465456"/>
          </a:xfrm>
          <a:prstGeom prst="rect">
            <a:avLst/>
          </a:prstGeom>
        </p:spPr>
        <p:txBody>
          <a:bodyPr vert="horz" lIns="91553" tIns="45776" rIns="91553" bIns="4577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7" y="8842034"/>
            <a:ext cx="3043343" cy="465456"/>
          </a:xfrm>
          <a:prstGeom prst="rect">
            <a:avLst/>
          </a:prstGeom>
        </p:spPr>
        <p:txBody>
          <a:bodyPr vert="horz" lIns="91553" tIns="45776" rIns="91553" bIns="45776" rtlCol="0" anchor="b"/>
          <a:lstStyle>
            <a:lvl1pPr algn="r">
              <a:defRPr sz="1200"/>
            </a:lvl1pPr>
          </a:lstStyle>
          <a:p>
            <a:fld id="{D4EBCB24-ECD7-4310-A983-65861575D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8723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017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1pPr>
    <a:lvl2pPr marL="228509" algn="l" defTabSz="457017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2pPr>
    <a:lvl3pPr marL="457017" algn="l" defTabSz="457017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3pPr>
    <a:lvl4pPr marL="685526" algn="l" defTabSz="457017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4pPr>
    <a:lvl5pPr marL="914034" algn="l" defTabSz="457017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5pPr>
    <a:lvl6pPr marL="1142543" algn="l" defTabSz="457017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6pPr>
    <a:lvl7pPr marL="1371051" algn="l" defTabSz="457017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7pPr>
    <a:lvl8pPr marL="1599560" algn="l" defTabSz="457017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8pPr>
    <a:lvl9pPr marL="1828068" algn="l" defTabSz="457017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1.xml"/><Relationship Id="rId7" Type="http://schemas.openxmlformats.org/officeDocument/2006/relationships/oleObject" Target="../embeddings/oleObject2.bin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11.png"/><Relationship Id="rId5" Type="http://schemas.openxmlformats.org/officeDocument/2006/relationships/tags" Target="../tags/tag33.xml"/><Relationship Id="rId10" Type="http://schemas.openxmlformats.org/officeDocument/2006/relationships/image" Target="../media/image10.png"/><Relationship Id="rId4" Type="http://schemas.openxmlformats.org/officeDocument/2006/relationships/tags" Target="../tags/tag32.xml"/><Relationship Id="rId9" Type="http://schemas.openxmlformats.org/officeDocument/2006/relationships/image" Target="../media/image9.jpe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6.emf"/><Relationship Id="rId4" Type="http://schemas.openxmlformats.org/officeDocument/2006/relationships/tags" Target="../tags/tag37.xml"/><Relationship Id="rId9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10" Type="http://schemas.openxmlformats.org/officeDocument/2006/relationships/image" Target="../media/image8.emf"/><Relationship Id="rId4" Type="http://schemas.openxmlformats.org/officeDocument/2006/relationships/tags" Target="../tags/tag44.xml"/><Relationship Id="rId9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10" Type="http://schemas.openxmlformats.org/officeDocument/2006/relationships/image" Target="../media/image8.emf"/><Relationship Id="rId4" Type="http://schemas.openxmlformats.org/officeDocument/2006/relationships/tags" Target="../tags/tag51.xml"/><Relationship Id="rId9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10" Type="http://schemas.openxmlformats.org/officeDocument/2006/relationships/image" Target="../media/image8.emf"/><Relationship Id="rId4" Type="http://schemas.openxmlformats.org/officeDocument/2006/relationships/tags" Target="../tags/tag58.xml"/><Relationship Id="rId9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image" Target="../media/image8.emf"/><Relationship Id="rId5" Type="http://schemas.openxmlformats.org/officeDocument/2006/relationships/tags" Target="../tags/tag66.xml"/><Relationship Id="rId10" Type="http://schemas.openxmlformats.org/officeDocument/2006/relationships/oleObject" Target="../embeddings/oleObject7.bin"/><Relationship Id="rId4" Type="http://schemas.openxmlformats.org/officeDocument/2006/relationships/tags" Target="../tags/tag65.xml"/><Relationship Id="rId9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image" Target="../media/image7.png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image" Target="../media/image1.png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image" Target="../media/image6.emf"/><Relationship Id="rId5" Type="http://schemas.openxmlformats.org/officeDocument/2006/relationships/tags" Target="../tags/tag74.xml"/><Relationship Id="rId10" Type="http://schemas.openxmlformats.org/officeDocument/2006/relationships/oleObject" Target="../embeddings/oleObject8.bin"/><Relationship Id="rId4" Type="http://schemas.openxmlformats.org/officeDocument/2006/relationships/tags" Target="../tags/tag73.xml"/><Relationship Id="rId9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image" Target="../media/image7.png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image" Target="../media/image1.pn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image" Target="../media/image6.emf"/><Relationship Id="rId5" Type="http://schemas.openxmlformats.org/officeDocument/2006/relationships/tags" Target="../tags/tag82.xml"/><Relationship Id="rId10" Type="http://schemas.openxmlformats.org/officeDocument/2006/relationships/oleObject" Target="../embeddings/oleObject9.bin"/><Relationship Id="rId4" Type="http://schemas.openxmlformats.org/officeDocument/2006/relationships/tags" Target="../tags/tag81.xml"/><Relationship Id="rId9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image" Target="../media/image7.png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image" Target="../media/image6.emf"/><Relationship Id="rId5" Type="http://schemas.openxmlformats.org/officeDocument/2006/relationships/tags" Target="../tags/tag90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89.xml"/><Relationship Id="rId9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image" Target="../media/image7.png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image" Target="../media/image1.png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image" Target="../media/image12.emf"/><Relationship Id="rId5" Type="http://schemas.openxmlformats.org/officeDocument/2006/relationships/tags" Target="../tags/tag98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97.xml"/><Relationship Id="rId9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image" Target="../media/image1.png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image" Target="../media/image6.emf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106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image" Target="../media/image7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12" Type="http://schemas.openxmlformats.org/officeDocument/2006/relationships/image" Target="../media/image7.png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11" Type="http://schemas.openxmlformats.org/officeDocument/2006/relationships/image" Target="../media/image1.png"/><Relationship Id="rId5" Type="http://schemas.openxmlformats.org/officeDocument/2006/relationships/tags" Target="../tags/tag115.xml"/><Relationship Id="rId10" Type="http://schemas.openxmlformats.org/officeDocument/2006/relationships/image" Target="../media/image8.emf"/><Relationship Id="rId4" Type="http://schemas.openxmlformats.org/officeDocument/2006/relationships/tags" Target="../tags/tag114.xml"/><Relationship Id="rId9" Type="http://schemas.openxmlformats.org/officeDocument/2006/relationships/oleObject" Target="../embeddings/oleObject13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7" Type="http://schemas.openxmlformats.org/officeDocument/2006/relationships/image" Target="../media/image8.emf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2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13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5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13" Type="http://schemas.openxmlformats.org/officeDocument/2006/relationships/image" Target="../media/image14.png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12" Type="http://schemas.openxmlformats.org/officeDocument/2006/relationships/image" Target="../media/image6.emf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128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27.xml"/><Relationship Id="rId9" Type="http://schemas.openxmlformats.org/officeDocument/2006/relationships/tags" Target="../tags/tag13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13" Type="http://schemas.openxmlformats.org/officeDocument/2006/relationships/tags" Target="../tags/tag145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12" Type="http://schemas.openxmlformats.org/officeDocument/2006/relationships/tags" Target="../tags/tag144.xml"/><Relationship Id="rId2" Type="http://schemas.openxmlformats.org/officeDocument/2006/relationships/tags" Target="../tags/tag134.xml"/><Relationship Id="rId16" Type="http://schemas.openxmlformats.org/officeDocument/2006/relationships/image" Target="../media/image6.emf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11" Type="http://schemas.openxmlformats.org/officeDocument/2006/relationships/tags" Target="../tags/tag143.xml"/><Relationship Id="rId5" Type="http://schemas.openxmlformats.org/officeDocument/2006/relationships/tags" Target="../tags/tag137.xml"/><Relationship Id="rId15" Type="http://schemas.openxmlformats.org/officeDocument/2006/relationships/oleObject" Target="../embeddings/oleObject17.bin"/><Relationship Id="rId10" Type="http://schemas.openxmlformats.org/officeDocument/2006/relationships/tags" Target="../tags/tag142.xml"/><Relationship Id="rId4" Type="http://schemas.openxmlformats.org/officeDocument/2006/relationships/tags" Target="../tags/tag136.xml"/><Relationship Id="rId9" Type="http://schemas.openxmlformats.org/officeDocument/2006/relationships/tags" Target="../tags/tag141.xml"/><Relationship Id="rId1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6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4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5" Type="http://schemas.openxmlformats.org/officeDocument/2006/relationships/tags" Target="../tags/tag151.xml"/><Relationship Id="rId4" Type="http://schemas.openxmlformats.org/officeDocument/2006/relationships/tags" Target="../tags/tag150.xml"/><Relationship Id="rId9" Type="http://schemas.openxmlformats.org/officeDocument/2006/relationships/image" Target="../media/image6.emf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13" Type="http://schemas.openxmlformats.org/officeDocument/2006/relationships/tags" Target="../tags/tag165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12" Type="http://schemas.openxmlformats.org/officeDocument/2006/relationships/tags" Target="../tags/tag164.xml"/><Relationship Id="rId17" Type="http://schemas.openxmlformats.org/officeDocument/2006/relationships/image" Target="../media/image6.emf"/><Relationship Id="rId2" Type="http://schemas.openxmlformats.org/officeDocument/2006/relationships/tags" Target="../tags/tag154.xml"/><Relationship Id="rId16" Type="http://schemas.openxmlformats.org/officeDocument/2006/relationships/oleObject" Target="../embeddings/oleObject19.bin"/><Relationship Id="rId1" Type="http://schemas.openxmlformats.org/officeDocument/2006/relationships/tags" Target="../tags/tag153.xml"/><Relationship Id="rId6" Type="http://schemas.openxmlformats.org/officeDocument/2006/relationships/tags" Target="../tags/tag158.xml"/><Relationship Id="rId11" Type="http://schemas.openxmlformats.org/officeDocument/2006/relationships/tags" Target="../tags/tag163.xml"/><Relationship Id="rId5" Type="http://schemas.openxmlformats.org/officeDocument/2006/relationships/tags" Target="../tags/tag157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162.xml"/><Relationship Id="rId4" Type="http://schemas.openxmlformats.org/officeDocument/2006/relationships/tags" Target="../tags/tag156.xml"/><Relationship Id="rId9" Type="http://schemas.openxmlformats.org/officeDocument/2006/relationships/tags" Target="../tags/tag161.xml"/><Relationship Id="rId14" Type="http://schemas.openxmlformats.org/officeDocument/2006/relationships/tags" Target="../tags/tag166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7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tags" Target="../tags/tag173.xml"/><Relationship Id="rId5" Type="http://schemas.openxmlformats.org/officeDocument/2006/relationships/tags" Target="../tags/tag172.xml"/><Relationship Id="rId10" Type="http://schemas.openxmlformats.org/officeDocument/2006/relationships/image" Target="../media/image6.emf"/><Relationship Id="rId4" Type="http://schemas.openxmlformats.org/officeDocument/2006/relationships/tags" Target="../tags/tag171.xml"/><Relationship Id="rId9" Type="http://schemas.openxmlformats.org/officeDocument/2006/relationships/oleObject" Target="../embeddings/oleObject20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6.xml"/><Relationship Id="rId6" Type="http://schemas.openxmlformats.org/officeDocument/2006/relationships/image" Target="../media/image18.png"/><Relationship Id="rId5" Type="http://schemas.openxmlformats.org/officeDocument/2006/relationships/image" Target="../media/image3.png"/><Relationship Id="rId4" Type="http://schemas.openxmlformats.org/officeDocument/2006/relationships/image" Target="../media/image17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7.xml"/><Relationship Id="rId4" Type="http://schemas.openxmlformats.org/officeDocument/2006/relationships/image" Target="../media/image4.png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00.xml"/><Relationship Id="rId7" Type="http://schemas.openxmlformats.org/officeDocument/2006/relationships/oleObject" Target="../embeddings/oleObject24.bin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slideMaster" Target="../slideMasters/slideMaster5.xml"/><Relationship Id="rId11" Type="http://schemas.openxmlformats.org/officeDocument/2006/relationships/image" Target="../media/image11.png"/><Relationship Id="rId5" Type="http://schemas.openxmlformats.org/officeDocument/2006/relationships/tags" Target="../tags/tag202.xml"/><Relationship Id="rId10" Type="http://schemas.openxmlformats.org/officeDocument/2006/relationships/image" Target="../media/image10.png"/><Relationship Id="rId4" Type="http://schemas.openxmlformats.org/officeDocument/2006/relationships/tags" Target="../tags/tag201.xml"/><Relationship Id="rId9" Type="http://schemas.openxmlformats.org/officeDocument/2006/relationships/image" Target="../media/image9.jpe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tags" Target="../tags/tag208.xml"/><Relationship Id="rId5" Type="http://schemas.openxmlformats.org/officeDocument/2006/relationships/tags" Target="../tags/tag207.xml"/><Relationship Id="rId10" Type="http://schemas.openxmlformats.org/officeDocument/2006/relationships/image" Target="../media/image6.emf"/><Relationship Id="rId4" Type="http://schemas.openxmlformats.org/officeDocument/2006/relationships/tags" Target="../tags/tag206.xml"/><Relationship Id="rId9" Type="http://schemas.openxmlformats.org/officeDocument/2006/relationships/oleObject" Target="../embeddings/oleObject25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12.xml"/><Relationship Id="rId7" Type="http://schemas.openxmlformats.org/officeDocument/2006/relationships/tags" Target="../tags/tag216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tags" Target="../tags/tag215.xml"/><Relationship Id="rId5" Type="http://schemas.openxmlformats.org/officeDocument/2006/relationships/tags" Target="../tags/tag214.xml"/><Relationship Id="rId10" Type="http://schemas.openxmlformats.org/officeDocument/2006/relationships/image" Target="../media/image8.emf"/><Relationship Id="rId4" Type="http://schemas.openxmlformats.org/officeDocument/2006/relationships/tags" Target="../tags/tag213.xml"/><Relationship Id="rId9" Type="http://schemas.openxmlformats.org/officeDocument/2006/relationships/oleObject" Target="../embeddings/oleObject26.bin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19.xml"/><Relationship Id="rId7" Type="http://schemas.openxmlformats.org/officeDocument/2006/relationships/tags" Target="../tags/tag223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tags" Target="../tags/tag222.xml"/><Relationship Id="rId5" Type="http://schemas.openxmlformats.org/officeDocument/2006/relationships/tags" Target="../tags/tag221.xml"/><Relationship Id="rId10" Type="http://schemas.openxmlformats.org/officeDocument/2006/relationships/image" Target="../media/image8.emf"/><Relationship Id="rId4" Type="http://schemas.openxmlformats.org/officeDocument/2006/relationships/tags" Target="../tags/tag220.xml"/><Relationship Id="rId9" Type="http://schemas.openxmlformats.org/officeDocument/2006/relationships/oleObject" Target="../embeddings/oleObject27.bin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26.xml"/><Relationship Id="rId7" Type="http://schemas.openxmlformats.org/officeDocument/2006/relationships/tags" Target="../tags/tag230.xml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tags" Target="../tags/tag229.xml"/><Relationship Id="rId5" Type="http://schemas.openxmlformats.org/officeDocument/2006/relationships/tags" Target="../tags/tag228.xml"/><Relationship Id="rId10" Type="http://schemas.openxmlformats.org/officeDocument/2006/relationships/image" Target="../media/image8.emf"/><Relationship Id="rId4" Type="http://schemas.openxmlformats.org/officeDocument/2006/relationships/tags" Target="../tags/tag227.xml"/><Relationship Id="rId9" Type="http://schemas.openxmlformats.org/officeDocument/2006/relationships/oleObject" Target="../embeddings/oleObject28.bin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238.xml"/><Relationship Id="rId3" Type="http://schemas.openxmlformats.org/officeDocument/2006/relationships/tags" Target="../tags/tag233.xml"/><Relationship Id="rId7" Type="http://schemas.openxmlformats.org/officeDocument/2006/relationships/tags" Target="../tags/tag237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tags" Target="../tags/tag236.xml"/><Relationship Id="rId11" Type="http://schemas.openxmlformats.org/officeDocument/2006/relationships/image" Target="../media/image8.emf"/><Relationship Id="rId5" Type="http://schemas.openxmlformats.org/officeDocument/2006/relationships/tags" Target="../tags/tag235.xml"/><Relationship Id="rId10" Type="http://schemas.openxmlformats.org/officeDocument/2006/relationships/oleObject" Target="../embeddings/oleObject29.bin"/><Relationship Id="rId4" Type="http://schemas.openxmlformats.org/officeDocument/2006/relationships/tags" Target="../tags/tag234.xml"/><Relationship Id="rId9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image" Target="../media/image7.png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image" Target="../media/image1.png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tags" Target="../tags/tag244.xml"/><Relationship Id="rId11" Type="http://schemas.openxmlformats.org/officeDocument/2006/relationships/image" Target="../media/image6.emf"/><Relationship Id="rId5" Type="http://schemas.openxmlformats.org/officeDocument/2006/relationships/tags" Target="../tags/tag243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242.xml"/><Relationship Id="rId9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254.xml"/><Relationship Id="rId13" Type="http://schemas.openxmlformats.org/officeDocument/2006/relationships/image" Target="../media/image7.png"/><Relationship Id="rId3" Type="http://schemas.openxmlformats.org/officeDocument/2006/relationships/tags" Target="../tags/tag249.xml"/><Relationship Id="rId7" Type="http://schemas.openxmlformats.org/officeDocument/2006/relationships/tags" Target="../tags/tag253.xml"/><Relationship Id="rId12" Type="http://schemas.openxmlformats.org/officeDocument/2006/relationships/image" Target="../media/image1.png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6" Type="http://schemas.openxmlformats.org/officeDocument/2006/relationships/tags" Target="../tags/tag252.xml"/><Relationship Id="rId11" Type="http://schemas.openxmlformats.org/officeDocument/2006/relationships/image" Target="../media/image6.emf"/><Relationship Id="rId5" Type="http://schemas.openxmlformats.org/officeDocument/2006/relationships/tags" Target="../tags/tag251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250.xml"/><Relationship Id="rId9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262.xml"/><Relationship Id="rId3" Type="http://schemas.openxmlformats.org/officeDocument/2006/relationships/tags" Target="../tags/tag257.xml"/><Relationship Id="rId7" Type="http://schemas.openxmlformats.org/officeDocument/2006/relationships/tags" Target="../tags/tag261.xml"/><Relationship Id="rId12" Type="http://schemas.openxmlformats.org/officeDocument/2006/relationships/image" Target="../media/image7.png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6" Type="http://schemas.openxmlformats.org/officeDocument/2006/relationships/tags" Target="../tags/tag260.xml"/><Relationship Id="rId11" Type="http://schemas.openxmlformats.org/officeDocument/2006/relationships/image" Target="../media/image6.emf"/><Relationship Id="rId5" Type="http://schemas.openxmlformats.org/officeDocument/2006/relationships/tags" Target="../tags/tag259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258.xml"/><Relationship Id="rId9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270.xml"/><Relationship Id="rId13" Type="http://schemas.openxmlformats.org/officeDocument/2006/relationships/image" Target="../media/image7.png"/><Relationship Id="rId3" Type="http://schemas.openxmlformats.org/officeDocument/2006/relationships/tags" Target="../tags/tag265.xml"/><Relationship Id="rId7" Type="http://schemas.openxmlformats.org/officeDocument/2006/relationships/tags" Target="../tags/tag269.xml"/><Relationship Id="rId12" Type="http://schemas.openxmlformats.org/officeDocument/2006/relationships/image" Target="../media/image1.png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6" Type="http://schemas.openxmlformats.org/officeDocument/2006/relationships/tags" Target="../tags/tag268.xml"/><Relationship Id="rId11" Type="http://schemas.openxmlformats.org/officeDocument/2006/relationships/image" Target="../media/image12.emf"/><Relationship Id="rId5" Type="http://schemas.openxmlformats.org/officeDocument/2006/relationships/tags" Target="../tags/tag267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266.xml"/><Relationship Id="rId9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13" Type="http://schemas.openxmlformats.org/officeDocument/2006/relationships/image" Target="../media/image1.png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12" Type="http://schemas.openxmlformats.org/officeDocument/2006/relationships/image" Target="../media/image6.emf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11" Type="http://schemas.openxmlformats.org/officeDocument/2006/relationships/oleObject" Target="../embeddings/oleObject34.bin"/><Relationship Id="rId5" Type="http://schemas.openxmlformats.org/officeDocument/2006/relationships/tags" Target="../tags/tag275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274.xml"/><Relationship Id="rId9" Type="http://schemas.openxmlformats.org/officeDocument/2006/relationships/tags" Target="../tags/tag279.xml"/><Relationship Id="rId14" Type="http://schemas.openxmlformats.org/officeDocument/2006/relationships/image" Target="../media/image7.png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82.xml"/><Relationship Id="rId7" Type="http://schemas.openxmlformats.org/officeDocument/2006/relationships/tags" Target="../tags/tag286.xml"/><Relationship Id="rId12" Type="http://schemas.openxmlformats.org/officeDocument/2006/relationships/image" Target="../media/image7.png"/><Relationship Id="rId2" Type="http://schemas.openxmlformats.org/officeDocument/2006/relationships/tags" Target="../tags/tag281.xml"/><Relationship Id="rId1" Type="http://schemas.openxmlformats.org/officeDocument/2006/relationships/tags" Target="../tags/tag280.xml"/><Relationship Id="rId6" Type="http://schemas.openxmlformats.org/officeDocument/2006/relationships/tags" Target="../tags/tag285.xml"/><Relationship Id="rId11" Type="http://schemas.openxmlformats.org/officeDocument/2006/relationships/image" Target="../media/image1.png"/><Relationship Id="rId5" Type="http://schemas.openxmlformats.org/officeDocument/2006/relationships/tags" Target="../tags/tag284.xml"/><Relationship Id="rId10" Type="http://schemas.openxmlformats.org/officeDocument/2006/relationships/image" Target="../media/image8.emf"/><Relationship Id="rId4" Type="http://schemas.openxmlformats.org/officeDocument/2006/relationships/tags" Target="../tags/tag283.xml"/><Relationship Id="rId9" Type="http://schemas.openxmlformats.org/officeDocument/2006/relationships/oleObject" Target="../embeddings/oleObject35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289.xml"/><Relationship Id="rId7" Type="http://schemas.openxmlformats.org/officeDocument/2006/relationships/image" Target="../media/image8.emf"/><Relationship Id="rId2" Type="http://schemas.openxmlformats.org/officeDocument/2006/relationships/tags" Target="../tags/tag288.xml"/><Relationship Id="rId1" Type="http://schemas.openxmlformats.org/officeDocument/2006/relationships/tags" Target="../tags/tag287.x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29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92.xml"/><Relationship Id="rId1" Type="http://schemas.openxmlformats.org/officeDocument/2006/relationships/tags" Target="../tags/tag291.xml"/><Relationship Id="rId6" Type="http://schemas.openxmlformats.org/officeDocument/2006/relationships/image" Target="../media/image13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7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300.xml"/><Relationship Id="rId13" Type="http://schemas.openxmlformats.org/officeDocument/2006/relationships/image" Target="../media/image14.png"/><Relationship Id="rId3" Type="http://schemas.openxmlformats.org/officeDocument/2006/relationships/tags" Target="../tags/tag295.xml"/><Relationship Id="rId7" Type="http://schemas.openxmlformats.org/officeDocument/2006/relationships/tags" Target="../tags/tag299.xml"/><Relationship Id="rId12" Type="http://schemas.openxmlformats.org/officeDocument/2006/relationships/image" Target="../media/image6.emf"/><Relationship Id="rId2" Type="http://schemas.openxmlformats.org/officeDocument/2006/relationships/tags" Target="../tags/tag294.xml"/><Relationship Id="rId1" Type="http://schemas.openxmlformats.org/officeDocument/2006/relationships/tags" Target="../tags/tag293.xml"/><Relationship Id="rId6" Type="http://schemas.openxmlformats.org/officeDocument/2006/relationships/tags" Target="../tags/tag298.xml"/><Relationship Id="rId11" Type="http://schemas.openxmlformats.org/officeDocument/2006/relationships/oleObject" Target="../embeddings/oleObject38.bin"/><Relationship Id="rId5" Type="http://schemas.openxmlformats.org/officeDocument/2006/relationships/tags" Target="../tags/tag297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296.xml"/><Relationship Id="rId9" Type="http://schemas.openxmlformats.org/officeDocument/2006/relationships/tags" Target="../tags/tag301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309.xml"/><Relationship Id="rId13" Type="http://schemas.openxmlformats.org/officeDocument/2006/relationships/tags" Target="../tags/tag314.xml"/><Relationship Id="rId3" Type="http://schemas.openxmlformats.org/officeDocument/2006/relationships/tags" Target="../tags/tag304.xml"/><Relationship Id="rId7" Type="http://schemas.openxmlformats.org/officeDocument/2006/relationships/tags" Target="../tags/tag308.xml"/><Relationship Id="rId12" Type="http://schemas.openxmlformats.org/officeDocument/2006/relationships/tags" Target="../tags/tag313.xml"/><Relationship Id="rId2" Type="http://schemas.openxmlformats.org/officeDocument/2006/relationships/tags" Target="../tags/tag303.xml"/><Relationship Id="rId16" Type="http://schemas.openxmlformats.org/officeDocument/2006/relationships/image" Target="../media/image6.emf"/><Relationship Id="rId1" Type="http://schemas.openxmlformats.org/officeDocument/2006/relationships/tags" Target="../tags/tag302.xml"/><Relationship Id="rId6" Type="http://schemas.openxmlformats.org/officeDocument/2006/relationships/tags" Target="../tags/tag307.xml"/><Relationship Id="rId11" Type="http://schemas.openxmlformats.org/officeDocument/2006/relationships/tags" Target="../tags/tag312.xml"/><Relationship Id="rId5" Type="http://schemas.openxmlformats.org/officeDocument/2006/relationships/tags" Target="../tags/tag306.xml"/><Relationship Id="rId15" Type="http://schemas.openxmlformats.org/officeDocument/2006/relationships/oleObject" Target="../embeddings/oleObject39.bin"/><Relationship Id="rId10" Type="http://schemas.openxmlformats.org/officeDocument/2006/relationships/tags" Target="../tags/tag311.xml"/><Relationship Id="rId4" Type="http://schemas.openxmlformats.org/officeDocument/2006/relationships/tags" Target="../tags/tag305.xml"/><Relationship Id="rId9" Type="http://schemas.openxmlformats.org/officeDocument/2006/relationships/tags" Target="../tags/tag310.xml"/><Relationship Id="rId14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5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.bin"/><Relationship Id="rId3" Type="http://schemas.openxmlformats.org/officeDocument/2006/relationships/tags" Target="../tags/tag318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tags" Target="../tags/tag321.xml"/><Relationship Id="rId5" Type="http://schemas.openxmlformats.org/officeDocument/2006/relationships/tags" Target="../tags/tag320.xml"/><Relationship Id="rId4" Type="http://schemas.openxmlformats.org/officeDocument/2006/relationships/tags" Target="../tags/tag319.xml"/><Relationship Id="rId9" Type="http://schemas.openxmlformats.org/officeDocument/2006/relationships/image" Target="../media/image6.emf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tags" Target="../tags/tag329.xml"/><Relationship Id="rId13" Type="http://schemas.openxmlformats.org/officeDocument/2006/relationships/tags" Target="../tags/tag334.xml"/><Relationship Id="rId3" Type="http://schemas.openxmlformats.org/officeDocument/2006/relationships/tags" Target="../tags/tag324.xml"/><Relationship Id="rId7" Type="http://schemas.openxmlformats.org/officeDocument/2006/relationships/tags" Target="../tags/tag328.xml"/><Relationship Id="rId12" Type="http://schemas.openxmlformats.org/officeDocument/2006/relationships/tags" Target="../tags/tag333.xml"/><Relationship Id="rId17" Type="http://schemas.openxmlformats.org/officeDocument/2006/relationships/image" Target="../media/image6.emf"/><Relationship Id="rId2" Type="http://schemas.openxmlformats.org/officeDocument/2006/relationships/tags" Target="../tags/tag323.xml"/><Relationship Id="rId16" Type="http://schemas.openxmlformats.org/officeDocument/2006/relationships/oleObject" Target="../embeddings/oleObject41.bin"/><Relationship Id="rId1" Type="http://schemas.openxmlformats.org/officeDocument/2006/relationships/tags" Target="../tags/tag322.xml"/><Relationship Id="rId6" Type="http://schemas.openxmlformats.org/officeDocument/2006/relationships/tags" Target="../tags/tag327.xml"/><Relationship Id="rId11" Type="http://schemas.openxmlformats.org/officeDocument/2006/relationships/tags" Target="../tags/tag332.xml"/><Relationship Id="rId5" Type="http://schemas.openxmlformats.org/officeDocument/2006/relationships/tags" Target="../tags/tag326.xml"/><Relationship Id="rId15" Type="http://schemas.openxmlformats.org/officeDocument/2006/relationships/slideMaster" Target="../slideMasters/slideMaster5.xml"/><Relationship Id="rId10" Type="http://schemas.openxmlformats.org/officeDocument/2006/relationships/tags" Target="../tags/tag331.xml"/><Relationship Id="rId4" Type="http://schemas.openxmlformats.org/officeDocument/2006/relationships/tags" Target="../tags/tag325.xml"/><Relationship Id="rId9" Type="http://schemas.openxmlformats.org/officeDocument/2006/relationships/tags" Target="../tags/tag330.xml"/><Relationship Id="rId14" Type="http://schemas.openxmlformats.org/officeDocument/2006/relationships/tags" Target="../tags/tag33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6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339.xml"/><Relationship Id="rId7" Type="http://schemas.openxmlformats.org/officeDocument/2006/relationships/tags" Target="../tags/tag343.xml"/><Relationship Id="rId2" Type="http://schemas.openxmlformats.org/officeDocument/2006/relationships/tags" Target="../tags/tag338.xml"/><Relationship Id="rId1" Type="http://schemas.openxmlformats.org/officeDocument/2006/relationships/tags" Target="../tags/tag337.xml"/><Relationship Id="rId6" Type="http://schemas.openxmlformats.org/officeDocument/2006/relationships/tags" Target="../tags/tag342.xml"/><Relationship Id="rId5" Type="http://schemas.openxmlformats.org/officeDocument/2006/relationships/tags" Target="../tags/tag341.xml"/><Relationship Id="rId10" Type="http://schemas.openxmlformats.org/officeDocument/2006/relationships/image" Target="../media/image6.emf"/><Relationship Id="rId4" Type="http://schemas.openxmlformats.org/officeDocument/2006/relationships/tags" Target="../tags/tag340.xml"/><Relationship Id="rId9" Type="http://schemas.openxmlformats.org/officeDocument/2006/relationships/oleObject" Target="../embeddings/oleObject4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550003" y="0"/>
            <a:ext cx="2637235" cy="68939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562561" y="4415944"/>
            <a:ext cx="8237502" cy="7386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0">
                <a:solidFill>
                  <a:srgbClr val="FC71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 in sentence case, (Arial, Regular, 24pt, Orang)</a:t>
            </a: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62561" y="5690825"/>
            <a:ext cx="8237502" cy="36576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09505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2000" b="1" kern="1200" baseline="0" dirty="0" smtClean="0">
                <a:solidFill>
                  <a:srgbClr val="1C479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Date (Arial, Bold, 20pt, Blue)</a:t>
            </a:r>
          </a:p>
        </p:txBody>
      </p:sp>
      <p:sp>
        <p:nvSpPr>
          <p:cNvPr id="12" name="Title 12"/>
          <p:cNvSpPr>
            <a:spLocks noGrp="1"/>
          </p:cNvSpPr>
          <p:nvPr>
            <p:ph type="title" hasCustomPrompt="1"/>
          </p:nvPr>
        </p:nvSpPr>
        <p:spPr>
          <a:xfrm>
            <a:off x="562561" y="2544000"/>
            <a:ext cx="9596662" cy="187194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kumimoji="0" lang="en-US" sz="4400" b="1" i="0" u="none" strike="noStrike" kern="1200" cap="none" spc="0" normalizeH="0" baseline="0" dirty="0">
                <a:ln>
                  <a:noFill/>
                </a:ln>
                <a:solidFill>
                  <a:srgbClr val="1C479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SEC Master and Style guide (Arial Headings, Bold 40pt, Blue)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9869567" y="2326781"/>
            <a:ext cx="2310942" cy="4567187"/>
          </a:xfrm>
          <a:prstGeom prst="rect">
            <a:avLst/>
          </a:prstGeom>
        </p:spPr>
      </p:pic>
      <p:pic>
        <p:nvPicPr>
          <p:cNvPr id="14" name="Picture 13" descr="C:\Users\92679\Desktop\branding\company logo\SEC logo Horizontal\الشعار مع الهتاف الاعلاني1.jpeg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5114" y="300169"/>
            <a:ext cx="2678654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 userDrawn="1"/>
        </p:nvSpPr>
        <p:spPr>
          <a:xfrm>
            <a:off x="404987" y="909514"/>
            <a:ext cx="6264696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 userDrawn="1"/>
        </p:nvSpPr>
        <p:spPr>
          <a:xfrm>
            <a:off x="-10257" y="6238106"/>
            <a:ext cx="3943636" cy="621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080181"/>
      </p:ext>
    </p:extLst>
  </p:cSld>
  <p:clrMapOvr>
    <a:masterClrMapping/>
  </p:clrMapOvr>
  <p:hf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362" y="9018"/>
            <a:ext cx="10968514" cy="9001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362" y="1161279"/>
            <a:ext cx="10968514" cy="4527011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136590" y="6449352"/>
            <a:ext cx="2843689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fld id="{F7802FCB-1A0D-4E09-8AFD-C3686DE4DC92}" type="datetime4">
              <a:rPr lang="en-US" smtClean="0"/>
              <a:t>May 23, 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7517" y="6449352"/>
            <a:ext cx="6369804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40073" y="6449352"/>
            <a:ext cx="524329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fld id="{BA72B151-4434-4606-98AB-039C983CD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4235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3564110" y="549402"/>
            <a:ext cx="7312343" cy="1170734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24966" y="549402"/>
            <a:ext cx="21736024" cy="1170734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136590" y="6449352"/>
            <a:ext cx="2843689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fld id="{34FCD7CF-E3B4-46F1-B538-9FA2BAB2720B}" type="datetime4">
              <a:rPr lang="en-US" smtClean="0"/>
              <a:t>May 23, 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7517" y="6449352"/>
            <a:ext cx="6369804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40073" y="6449352"/>
            <a:ext cx="524329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fld id="{BA72B151-4434-4606-98AB-039C983CD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37792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 userDrawn="1"/>
        </p:nvSpPr>
        <p:spPr>
          <a:xfrm>
            <a:off x="22852" y="6358059"/>
            <a:ext cx="4030299" cy="4774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57" tIns="89517" rIns="90957" bIns="89517" rtlCol="0" anchor="ctr" anchorCtr="0"/>
          <a:lstStyle/>
          <a:p>
            <a:pPr algn="ctr"/>
            <a:endParaRPr lang="ar-SA" sz="1400" dirty="0">
              <a:solidFill>
                <a:schemeClr val="tx1"/>
              </a:solidFill>
            </a:endParaRPr>
          </a:p>
        </p:txBody>
      </p:sp>
      <p:sp>
        <p:nvSpPr>
          <p:cNvPr id="6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39579" y="48326"/>
            <a:ext cx="2742128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580" marR="0" indent="-171390" algn="l" defTabSz="68435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SlideProof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</a:t>
            </a:r>
          </a:p>
          <a:p>
            <a:pPr lvl="1"/>
            <a:r>
              <a:rPr lang="en-US" noProof="0" dirty="0"/>
              <a:t>SP Agenda Section Highlight</a:t>
            </a:r>
          </a:p>
          <a:p>
            <a:pPr lvl="1"/>
            <a:r>
              <a:rPr lang="en-US" noProof="0" dirty="0"/>
              <a:t>SP Agenda Subsection</a:t>
            </a:r>
          </a:p>
          <a:p>
            <a:pPr lvl="1"/>
            <a:r>
              <a:rPr lang="en-US" noProof="0" dirty="0"/>
              <a:t>SP Agenda Subsection Highlight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7" name="SP Agenda Section" hidden="1"/>
          <p:cNvGrpSpPr/>
          <p:nvPr userDrawn="1"/>
        </p:nvGrpSpPr>
        <p:grpSpPr>
          <a:xfrm>
            <a:off x="4824275" y="1177979"/>
            <a:ext cx="6874641" cy="369418"/>
            <a:chOff x="1797664" y="2085631"/>
            <a:chExt cx="6877329" cy="369332"/>
          </a:xfrm>
        </p:grpSpPr>
        <p:sp>
          <p:nvSpPr>
            <p:cNvPr id="8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1000">
                <a:tabLst>
                  <a:tab pos="9508732" algn="l"/>
                </a:tabLst>
              </a:pPr>
              <a:r>
                <a:rPr lang="en-US" sz="1800" dirty="0"/>
                <a:t>&lt;TEXT&gt;</a:t>
              </a:r>
            </a:p>
          </p:txBody>
        </p:sp>
        <p:sp>
          <p:nvSpPr>
            <p:cNvPr id="9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800" dirty="0"/>
                <a:t>&lt;N&gt;</a:t>
              </a:r>
            </a:p>
          </p:txBody>
        </p:sp>
        <p:sp>
          <p:nvSpPr>
            <p:cNvPr id="10" name="Textbox" hidden="1"/>
            <p:cNvSpPr txBox="1">
              <a:spLocks/>
            </p:cNvSpPr>
            <p:nvPr userDrawn="1"/>
          </p:nvSpPr>
          <p:spPr>
            <a:xfrm>
              <a:off x="8037999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800" dirty="0"/>
                <a:t>&lt;P&gt;</a:t>
              </a:r>
            </a:p>
          </p:txBody>
        </p:sp>
      </p:grpSp>
      <p:grpSp>
        <p:nvGrpSpPr>
          <p:cNvPr id="14" name="SP Agenda Section Highlight" hidden="1"/>
          <p:cNvGrpSpPr>
            <a:grpSpLocks/>
          </p:cNvGrpSpPr>
          <p:nvPr userDrawn="1"/>
        </p:nvGrpSpPr>
        <p:grpSpPr>
          <a:xfrm>
            <a:off x="4824274" y="1709434"/>
            <a:ext cx="6874642" cy="369418"/>
            <a:chOff x="1797664" y="2616963"/>
            <a:chExt cx="6877331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5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solidFill>
              <a:srgbClr val="1F4A8E"/>
            </a:solidFill>
          </p:spPr>
          <p:txBody>
            <a:bodyPr wrap="square" rtlCol="0" anchor="ctr">
              <a:normAutofit/>
            </a:bodyPr>
            <a:lstStyle/>
            <a:p>
              <a:pPr defTabSz="9331000">
                <a:tabLst>
                  <a:tab pos="9508732" algn="l"/>
                </a:tabLst>
              </a:pPr>
              <a:r>
                <a:rPr lang="en-US" sz="18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16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solidFill>
              <a:srgbClr val="1F4A8E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</a:rPr>
                <a:t>&lt;N&gt;</a:t>
              </a:r>
            </a:p>
          </p:txBody>
        </p:sp>
        <p:sp>
          <p:nvSpPr>
            <p:cNvPr id="17" name="Textbox" hidden="1"/>
            <p:cNvSpPr txBox="1">
              <a:spLocks/>
            </p:cNvSpPr>
            <p:nvPr userDrawn="1"/>
          </p:nvSpPr>
          <p:spPr>
            <a:xfrm>
              <a:off x="8038001" y="2616963"/>
              <a:ext cx="636994" cy="369332"/>
            </a:xfrm>
            <a:prstGeom prst="rect">
              <a:avLst/>
            </a:prstGeom>
            <a:solidFill>
              <a:srgbClr val="1F4A8E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800" b="1" dirty="0">
                  <a:solidFill>
                    <a:schemeClr val="bg1"/>
                  </a:solidFill>
                </a:rPr>
                <a:t>&lt;P&gt;</a:t>
              </a:r>
            </a:p>
          </p:txBody>
        </p:sp>
      </p:grpSp>
      <p:grpSp>
        <p:nvGrpSpPr>
          <p:cNvPr id="21" name="SP Agenda Subsection" hidden="1"/>
          <p:cNvGrpSpPr>
            <a:grpSpLocks/>
          </p:cNvGrpSpPr>
          <p:nvPr userDrawn="1"/>
        </p:nvGrpSpPr>
        <p:grpSpPr>
          <a:xfrm>
            <a:off x="5292233" y="2240889"/>
            <a:ext cx="6406683" cy="369418"/>
            <a:chOff x="2265804" y="3155687"/>
            <a:chExt cx="6409188" cy="369332"/>
          </a:xfrm>
        </p:grpSpPr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1000">
                <a:tabLst>
                  <a:tab pos="9508732" algn="l"/>
                </a:tabLst>
              </a:pPr>
              <a:r>
                <a:rPr lang="en-US" sz="1800" dirty="0"/>
                <a:t>&lt;TEXT&gt;</a:t>
              </a:r>
            </a:p>
          </p:txBody>
        </p:sp>
        <p:sp>
          <p:nvSpPr>
            <p:cNvPr id="23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800" dirty="0"/>
                <a:t>&lt;N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8037998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800" dirty="0"/>
                <a:t>&lt;P&gt;</a:t>
              </a:r>
            </a:p>
          </p:txBody>
        </p:sp>
      </p:grpSp>
      <p:grpSp>
        <p:nvGrpSpPr>
          <p:cNvPr id="28" name="SP Agenda Subsection Highlight" hidden="1"/>
          <p:cNvGrpSpPr>
            <a:grpSpLocks/>
          </p:cNvGrpSpPr>
          <p:nvPr userDrawn="1"/>
        </p:nvGrpSpPr>
        <p:grpSpPr>
          <a:xfrm>
            <a:off x="5292232" y="2772344"/>
            <a:ext cx="6406684" cy="369418"/>
            <a:chOff x="2265804" y="3694411"/>
            <a:chExt cx="6409190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solidFill>
              <a:srgbClr val="FF8D12"/>
            </a:solidFill>
          </p:spPr>
          <p:txBody>
            <a:bodyPr wrap="square" rtlCol="0" anchor="ctr">
              <a:normAutofit/>
            </a:bodyPr>
            <a:lstStyle/>
            <a:p>
              <a:pPr defTabSz="9331000">
                <a:tabLst>
                  <a:tab pos="9508732" algn="l"/>
                </a:tabLst>
              </a:pPr>
              <a:r>
                <a:rPr lang="en-US" sz="18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30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solidFill>
              <a:srgbClr val="FF8D12"/>
            </a:solidFill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</a:rPr>
                <a:t>&lt;N&gt;</a:t>
              </a:r>
            </a:p>
          </p:txBody>
        </p:sp>
        <p:sp>
          <p:nvSpPr>
            <p:cNvPr id="31" name="Textbox" hidden="1"/>
            <p:cNvSpPr txBox="1">
              <a:spLocks/>
            </p:cNvSpPr>
            <p:nvPr userDrawn="1"/>
          </p:nvSpPr>
          <p:spPr>
            <a:xfrm>
              <a:off x="8038000" y="3694411"/>
              <a:ext cx="636994" cy="369332"/>
            </a:xfrm>
            <a:prstGeom prst="rect">
              <a:avLst/>
            </a:prstGeom>
            <a:solidFill>
              <a:srgbClr val="FF8D12"/>
            </a:solidFill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800" b="1" dirty="0">
                  <a:solidFill>
                    <a:schemeClr val="bg1"/>
                  </a:solidFill>
                </a:rPr>
                <a:t>&lt;P&gt;</a:t>
              </a:r>
            </a:p>
          </p:txBody>
        </p:sp>
      </p:grpSp>
      <p:sp>
        <p:nvSpPr>
          <p:cNvPr id="35" name="Rectangle 34"/>
          <p:cNvSpPr/>
          <p:nvPr userDrawn="1"/>
        </p:nvSpPr>
        <p:spPr>
          <a:xfrm>
            <a:off x="562561" y="974785"/>
            <a:ext cx="5743348" cy="16390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57" tIns="89517" rIns="90957" bIns="89517" rtlCol="0" anchor="ctr" anchorCtr="0"/>
          <a:lstStyle/>
          <a:p>
            <a:pPr algn="ctr"/>
            <a:endParaRPr lang="ar-SA" sz="1400" dirty="0">
              <a:solidFill>
                <a:schemeClr val="tx1"/>
              </a:solidFill>
            </a:endParaRPr>
          </a:p>
        </p:txBody>
      </p:sp>
      <p:sp>
        <p:nvSpPr>
          <p:cNvPr id="36" name="Rounded Rectangle 35"/>
          <p:cNvSpPr/>
          <p:nvPr userDrawn="1"/>
        </p:nvSpPr>
        <p:spPr>
          <a:xfrm rot="1800000">
            <a:off x="-4603405" y="-1844243"/>
            <a:ext cx="7594183" cy="10546485"/>
          </a:xfrm>
          <a:prstGeom prst="roundRect">
            <a:avLst>
              <a:gd name="adj" fmla="val 50000"/>
            </a:avLst>
          </a:prstGeom>
          <a:noFill/>
          <a:ln w="9525" cap="flat" cmpd="sng" algn="ctr">
            <a:solidFill>
              <a:srgbClr val="2E3558"/>
            </a:solidFill>
            <a:prstDash val="solid"/>
          </a:ln>
          <a:effectLst/>
        </p:spPr>
        <p:txBody>
          <a:bodyPr lIns="90921" tIns="45465" rIns="90921" bIns="45465" rtlCol="0" anchor="t"/>
          <a:lstStyle/>
          <a:p>
            <a:pPr>
              <a:lnSpc>
                <a:spcPct val="90000"/>
              </a:lnSpc>
              <a:spcAft>
                <a:spcPts val="1000"/>
              </a:spcAft>
              <a:defRPr/>
            </a:pPr>
            <a:endParaRPr lang="en-US" sz="12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7" name="Rounded Rectangle 9"/>
          <p:cNvSpPr/>
          <p:nvPr userDrawn="1"/>
        </p:nvSpPr>
        <p:spPr>
          <a:xfrm rot="3600000">
            <a:off x="-4603425" y="-1844244"/>
            <a:ext cx="7594181" cy="10546487"/>
          </a:xfrm>
          <a:prstGeom prst="roundRect">
            <a:avLst>
              <a:gd name="adj" fmla="val 50000"/>
            </a:avLst>
          </a:prstGeom>
          <a:noFill/>
          <a:ln w="9525" cap="flat" cmpd="sng" algn="ctr">
            <a:solidFill>
              <a:srgbClr val="133063"/>
            </a:solidFill>
            <a:prstDash val="solid"/>
          </a:ln>
          <a:effectLst/>
        </p:spPr>
        <p:txBody>
          <a:bodyPr lIns="90921" tIns="45465" rIns="90921" bIns="45465" rtlCol="0" anchor="t"/>
          <a:lstStyle/>
          <a:p>
            <a:pPr>
              <a:lnSpc>
                <a:spcPct val="90000"/>
              </a:lnSpc>
              <a:spcAft>
                <a:spcPts val="1000"/>
              </a:spcAft>
              <a:defRPr/>
            </a:pPr>
            <a:endParaRPr lang="en-US" sz="12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8" name="Rounded Rectangle 6"/>
          <p:cNvSpPr/>
          <p:nvPr userDrawn="1"/>
        </p:nvSpPr>
        <p:spPr>
          <a:xfrm>
            <a:off x="-4603405" y="-1844244"/>
            <a:ext cx="7594183" cy="10546486"/>
          </a:xfrm>
          <a:prstGeom prst="roundRect">
            <a:avLst>
              <a:gd name="adj" fmla="val 50000"/>
            </a:avLst>
          </a:prstGeom>
          <a:noFill/>
          <a:ln w="9525" cap="flat" cmpd="sng" algn="ctr">
            <a:solidFill>
              <a:srgbClr val="959BE3"/>
            </a:solidFill>
            <a:prstDash val="solid"/>
          </a:ln>
          <a:effectLst/>
        </p:spPr>
        <p:txBody>
          <a:bodyPr lIns="90957" tIns="45467" rIns="90957" bIns="45467" rtlCol="0" anchor="t"/>
          <a:lstStyle/>
          <a:p>
            <a:pPr>
              <a:lnSpc>
                <a:spcPct val="90000"/>
              </a:lnSpc>
              <a:spcAft>
                <a:spcPts val="1000"/>
              </a:spcAft>
              <a:defRPr/>
            </a:pPr>
            <a:endParaRPr lang="en-US" sz="12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9" name="Rounded Rectangle 38"/>
          <p:cNvSpPr/>
          <p:nvPr userDrawn="1"/>
        </p:nvSpPr>
        <p:spPr>
          <a:xfrm rot="9000000">
            <a:off x="-4603405" y="-1844243"/>
            <a:ext cx="7594183" cy="10546486"/>
          </a:xfrm>
          <a:prstGeom prst="roundRect">
            <a:avLst>
              <a:gd name="adj" fmla="val 50000"/>
            </a:avLst>
          </a:prstGeom>
          <a:noFill/>
          <a:ln w="9525" cap="flat" cmpd="sng" algn="ctr">
            <a:solidFill>
              <a:srgbClr val="1C4792"/>
            </a:solidFill>
            <a:prstDash val="solid"/>
          </a:ln>
          <a:effectLst/>
        </p:spPr>
        <p:txBody>
          <a:bodyPr lIns="90957" tIns="45467" rIns="90957" bIns="45467" rtlCol="0" anchor="t"/>
          <a:lstStyle/>
          <a:p>
            <a:pPr>
              <a:lnSpc>
                <a:spcPct val="90000"/>
              </a:lnSpc>
              <a:spcAft>
                <a:spcPts val="1000"/>
              </a:spcAft>
              <a:defRPr/>
            </a:pPr>
            <a:endParaRPr lang="en-US" sz="12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0" name="Rounded Rectangle 39"/>
          <p:cNvSpPr/>
          <p:nvPr userDrawn="1"/>
        </p:nvSpPr>
        <p:spPr>
          <a:xfrm rot="7200000">
            <a:off x="-4603425" y="-1844244"/>
            <a:ext cx="7594181" cy="10546487"/>
          </a:xfrm>
          <a:prstGeom prst="roundRect">
            <a:avLst>
              <a:gd name="adj" fmla="val 50000"/>
            </a:avLst>
          </a:prstGeom>
          <a:noFill/>
          <a:ln w="9525" cap="flat" cmpd="sng" algn="ctr">
            <a:solidFill>
              <a:srgbClr val="193E81"/>
            </a:solidFill>
            <a:prstDash val="solid"/>
          </a:ln>
          <a:effectLst/>
        </p:spPr>
        <p:txBody>
          <a:bodyPr lIns="90921" tIns="45465" rIns="90921" bIns="45465" rtlCol="0" anchor="t"/>
          <a:lstStyle/>
          <a:p>
            <a:pPr>
              <a:lnSpc>
                <a:spcPct val="90000"/>
              </a:lnSpc>
              <a:spcAft>
                <a:spcPts val="1000"/>
              </a:spcAft>
              <a:defRPr/>
            </a:pPr>
            <a:endParaRPr lang="en-US" sz="12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1" name="Rounded Rectangle 9"/>
          <p:cNvSpPr/>
          <p:nvPr userDrawn="1"/>
        </p:nvSpPr>
        <p:spPr>
          <a:xfrm rot="5400000">
            <a:off x="-4603425" y="-1844244"/>
            <a:ext cx="7594181" cy="10546487"/>
          </a:xfrm>
          <a:prstGeom prst="roundRect">
            <a:avLst>
              <a:gd name="adj" fmla="val 50000"/>
            </a:avLst>
          </a:prstGeom>
          <a:noFill/>
          <a:ln w="9525" cap="flat" cmpd="sng" algn="ctr">
            <a:solidFill>
              <a:srgbClr val="B2B2B2"/>
            </a:solidFill>
            <a:prstDash val="solid"/>
          </a:ln>
          <a:effectLst/>
        </p:spPr>
        <p:txBody>
          <a:bodyPr lIns="90921" tIns="45465" rIns="90921" bIns="45465" rtlCol="0" anchor="t"/>
          <a:lstStyle/>
          <a:p>
            <a:pPr>
              <a:lnSpc>
                <a:spcPct val="90000"/>
              </a:lnSpc>
              <a:spcAft>
                <a:spcPts val="1000"/>
              </a:spcAft>
              <a:defRPr/>
            </a:pPr>
            <a:endParaRPr lang="en-US" sz="12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710317" y="2066423"/>
            <a:ext cx="184658" cy="1569656"/>
          </a:xfrm>
          <a:prstGeom prst="rect">
            <a:avLst/>
          </a:prstGeom>
        </p:spPr>
        <p:txBody>
          <a:bodyPr wrap="none" lIns="90921" tIns="45465" rIns="90921" bIns="45465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endParaRPr lang="en-US" sz="9600" b="1" dirty="0">
              <a:solidFill>
                <a:srgbClr val="FC71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43" name="bcgIcons_Survey">
            <a:extLst>
              <a:ext uri="{FF2B5EF4-FFF2-40B4-BE49-F238E27FC236}">
                <a16:creationId xmlns:a16="http://schemas.microsoft.com/office/drawing/2014/main" id="{9BD65C83-533E-40DB-8163-95581ECD03D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01731" y="2192513"/>
            <a:ext cx="1644396" cy="1645920"/>
            <a:chOff x="1682" y="0"/>
            <a:chExt cx="4316" cy="4320"/>
          </a:xfrm>
        </p:grpSpPr>
        <p:sp>
          <p:nvSpPr>
            <p:cNvPr id="44" name="AutoShape 28">
              <a:extLst>
                <a:ext uri="{FF2B5EF4-FFF2-40B4-BE49-F238E27FC236}">
                  <a16:creationId xmlns:a16="http://schemas.microsoft.com/office/drawing/2014/main" id="{EAADB740-B9ED-4519-AB3A-981741EB6C8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" name="Freeform 30">
              <a:extLst>
                <a:ext uri="{FF2B5EF4-FFF2-40B4-BE49-F238E27FC236}">
                  <a16:creationId xmlns:a16="http://schemas.microsoft.com/office/drawing/2014/main" id="{4295DCD2-9EB6-4D65-9871-5F61A3C9E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9" y="611"/>
              <a:ext cx="2386" cy="3169"/>
            </a:xfrm>
            <a:custGeom>
              <a:avLst/>
              <a:gdLst>
                <a:gd name="T0" fmla="*/ 1252 w 1274"/>
                <a:gd name="T1" fmla="*/ 0 h 1690"/>
                <a:gd name="T2" fmla="*/ 887 w 1274"/>
                <a:gd name="T3" fmla="*/ 0 h 1690"/>
                <a:gd name="T4" fmla="*/ 887 w 1274"/>
                <a:gd name="T5" fmla="*/ 44 h 1690"/>
                <a:gd name="T6" fmla="*/ 1230 w 1274"/>
                <a:gd name="T7" fmla="*/ 44 h 1690"/>
                <a:gd name="T8" fmla="*/ 1230 w 1274"/>
                <a:gd name="T9" fmla="*/ 1646 h 1690"/>
                <a:gd name="T10" fmla="*/ 44 w 1274"/>
                <a:gd name="T11" fmla="*/ 1646 h 1690"/>
                <a:gd name="T12" fmla="*/ 44 w 1274"/>
                <a:gd name="T13" fmla="*/ 44 h 1690"/>
                <a:gd name="T14" fmla="*/ 387 w 1274"/>
                <a:gd name="T15" fmla="*/ 44 h 1690"/>
                <a:gd name="T16" fmla="*/ 387 w 1274"/>
                <a:gd name="T17" fmla="*/ 0 h 1690"/>
                <a:gd name="T18" fmla="*/ 22 w 1274"/>
                <a:gd name="T19" fmla="*/ 0 h 1690"/>
                <a:gd name="T20" fmla="*/ 0 w 1274"/>
                <a:gd name="T21" fmla="*/ 22 h 1690"/>
                <a:gd name="T22" fmla="*/ 0 w 1274"/>
                <a:gd name="T23" fmla="*/ 1668 h 1690"/>
                <a:gd name="T24" fmla="*/ 22 w 1274"/>
                <a:gd name="T25" fmla="*/ 1690 h 1690"/>
                <a:gd name="T26" fmla="*/ 1252 w 1274"/>
                <a:gd name="T27" fmla="*/ 1690 h 1690"/>
                <a:gd name="T28" fmla="*/ 1274 w 1274"/>
                <a:gd name="T29" fmla="*/ 1668 h 1690"/>
                <a:gd name="T30" fmla="*/ 1274 w 1274"/>
                <a:gd name="T31" fmla="*/ 22 h 1690"/>
                <a:gd name="T32" fmla="*/ 1252 w 1274"/>
                <a:gd name="T33" fmla="*/ 0 h 1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74" h="1690">
                  <a:moveTo>
                    <a:pt x="1252" y="0"/>
                  </a:moveTo>
                  <a:cubicBezTo>
                    <a:pt x="887" y="0"/>
                    <a:pt x="887" y="0"/>
                    <a:pt x="887" y="0"/>
                  </a:cubicBezTo>
                  <a:cubicBezTo>
                    <a:pt x="887" y="44"/>
                    <a:pt x="887" y="44"/>
                    <a:pt x="887" y="44"/>
                  </a:cubicBezTo>
                  <a:cubicBezTo>
                    <a:pt x="1230" y="44"/>
                    <a:pt x="1230" y="44"/>
                    <a:pt x="1230" y="44"/>
                  </a:cubicBezTo>
                  <a:cubicBezTo>
                    <a:pt x="1230" y="1646"/>
                    <a:pt x="1230" y="1646"/>
                    <a:pt x="1230" y="1646"/>
                  </a:cubicBezTo>
                  <a:cubicBezTo>
                    <a:pt x="44" y="1646"/>
                    <a:pt x="44" y="1646"/>
                    <a:pt x="44" y="164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387" y="44"/>
                    <a:pt x="387" y="44"/>
                    <a:pt x="387" y="44"/>
                  </a:cubicBezTo>
                  <a:cubicBezTo>
                    <a:pt x="387" y="0"/>
                    <a:pt x="387" y="0"/>
                    <a:pt x="387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668"/>
                    <a:pt x="0" y="1668"/>
                    <a:pt x="0" y="1668"/>
                  </a:cubicBezTo>
                  <a:cubicBezTo>
                    <a:pt x="0" y="1680"/>
                    <a:pt x="10" y="1690"/>
                    <a:pt x="22" y="1690"/>
                  </a:cubicBezTo>
                  <a:cubicBezTo>
                    <a:pt x="1252" y="1690"/>
                    <a:pt x="1252" y="1690"/>
                    <a:pt x="1252" y="1690"/>
                  </a:cubicBezTo>
                  <a:cubicBezTo>
                    <a:pt x="1264" y="1690"/>
                    <a:pt x="1274" y="1680"/>
                    <a:pt x="1274" y="1668"/>
                  </a:cubicBezTo>
                  <a:cubicBezTo>
                    <a:pt x="1274" y="22"/>
                    <a:pt x="1274" y="22"/>
                    <a:pt x="1274" y="22"/>
                  </a:cubicBezTo>
                  <a:cubicBezTo>
                    <a:pt x="1274" y="10"/>
                    <a:pt x="1264" y="0"/>
                    <a:pt x="1252" y="0"/>
                  </a:cubicBezTo>
                  <a:close/>
                </a:path>
              </a:pathLst>
            </a:custGeom>
            <a:solidFill>
              <a:srgbClr val="1330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" name="Freeform 31">
              <a:extLst>
                <a:ext uri="{FF2B5EF4-FFF2-40B4-BE49-F238E27FC236}">
                  <a16:creationId xmlns:a16="http://schemas.microsoft.com/office/drawing/2014/main" id="{42483609-5B1E-4649-B00F-B6329BEA88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4" y="307"/>
              <a:ext cx="1374" cy="2897"/>
            </a:xfrm>
            <a:custGeom>
              <a:avLst/>
              <a:gdLst>
                <a:gd name="T0" fmla="*/ 44 w 733"/>
                <a:gd name="T1" fmla="*/ 751 h 1545"/>
                <a:gd name="T2" fmla="*/ 0 w 733"/>
                <a:gd name="T3" fmla="*/ 591 h 1545"/>
                <a:gd name="T4" fmla="*/ 161 w 733"/>
                <a:gd name="T5" fmla="*/ 547 h 1545"/>
                <a:gd name="T6" fmla="*/ 205 w 733"/>
                <a:gd name="T7" fmla="*/ 707 h 1545"/>
                <a:gd name="T8" fmla="*/ 44 w 733"/>
                <a:gd name="T9" fmla="*/ 591 h 1545"/>
                <a:gd name="T10" fmla="*/ 161 w 733"/>
                <a:gd name="T11" fmla="*/ 707 h 1545"/>
                <a:gd name="T12" fmla="*/ 44 w 733"/>
                <a:gd name="T13" fmla="*/ 591 h 1545"/>
                <a:gd name="T14" fmla="*/ 711 w 733"/>
                <a:gd name="T15" fmla="*/ 556 h 1545"/>
                <a:gd name="T16" fmla="*/ 286 w 733"/>
                <a:gd name="T17" fmla="*/ 578 h 1545"/>
                <a:gd name="T18" fmla="*/ 711 w 733"/>
                <a:gd name="T19" fmla="*/ 600 h 1545"/>
                <a:gd name="T20" fmla="*/ 733 w 733"/>
                <a:gd name="T21" fmla="*/ 720 h 1545"/>
                <a:gd name="T22" fmla="*/ 308 w 733"/>
                <a:gd name="T23" fmla="*/ 698 h 1545"/>
                <a:gd name="T24" fmla="*/ 308 w 733"/>
                <a:gd name="T25" fmla="*/ 742 h 1545"/>
                <a:gd name="T26" fmla="*/ 733 w 733"/>
                <a:gd name="T27" fmla="*/ 720 h 1545"/>
                <a:gd name="T28" fmla="*/ 44 w 733"/>
                <a:gd name="T29" fmla="*/ 1545 h 1545"/>
                <a:gd name="T30" fmla="*/ 0 w 733"/>
                <a:gd name="T31" fmla="*/ 1384 h 1545"/>
                <a:gd name="T32" fmla="*/ 161 w 733"/>
                <a:gd name="T33" fmla="*/ 1340 h 1545"/>
                <a:gd name="T34" fmla="*/ 205 w 733"/>
                <a:gd name="T35" fmla="*/ 1501 h 1545"/>
                <a:gd name="T36" fmla="*/ 44 w 733"/>
                <a:gd name="T37" fmla="*/ 1384 h 1545"/>
                <a:gd name="T38" fmla="*/ 161 w 733"/>
                <a:gd name="T39" fmla="*/ 1501 h 1545"/>
                <a:gd name="T40" fmla="*/ 44 w 733"/>
                <a:gd name="T41" fmla="*/ 1384 h 1545"/>
                <a:gd name="T42" fmla="*/ 711 w 733"/>
                <a:gd name="T43" fmla="*/ 1350 h 1545"/>
                <a:gd name="T44" fmla="*/ 286 w 733"/>
                <a:gd name="T45" fmla="*/ 1372 h 1545"/>
                <a:gd name="T46" fmla="*/ 711 w 733"/>
                <a:gd name="T47" fmla="*/ 1394 h 1545"/>
                <a:gd name="T48" fmla="*/ 733 w 733"/>
                <a:gd name="T49" fmla="*/ 1513 h 1545"/>
                <a:gd name="T50" fmla="*/ 308 w 733"/>
                <a:gd name="T51" fmla="*/ 1491 h 1545"/>
                <a:gd name="T52" fmla="*/ 308 w 733"/>
                <a:gd name="T53" fmla="*/ 1535 h 1545"/>
                <a:gd name="T54" fmla="*/ 733 w 733"/>
                <a:gd name="T55" fmla="*/ 1513 h 1545"/>
                <a:gd name="T56" fmla="*/ 44 w 733"/>
                <a:gd name="T57" fmla="*/ 1148 h 1545"/>
                <a:gd name="T58" fmla="*/ 0 w 733"/>
                <a:gd name="T59" fmla="*/ 987 h 1545"/>
                <a:gd name="T60" fmla="*/ 161 w 733"/>
                <a:gd name="T61" fmla="*/ 943 h 1545"/>
                <a:gd name="T62" fmla="*/ 205 w 733"/>
                <a:gd name="T63" fmla="*/ 1104 h 1545"/>
                <a:gd name="T64" fmla="*/ 44 w 733"/>
                <a:gd name="T65" fmla="*/ 987 h 1545"/>
                <a:gd name="T66" fmla="*/ 161 w 733"/>
                <a:gd name="T67" fmla="*/ 1104 h 1545"/>
                <a:gd name="T68" fmla="*/ 44 w 733"/>
                <a:gd name="T69" fmla="*/ 987 h 1545"/>
                <a:gd name="T70" fmla="*/ 711 w 733"/>
                <a:gd name="T71" fmla="*/ 953 h 1545"/>
                <a:gd name="T72" fmla="*/ 286 w 733"/>
                <a:gd name="T73" fmla="*/ 975 h 1545"/>
                <a:gd name="T74" fmla="*/ 711 w 733"/>
                <a:gd name="T75" fmla="*/ 997 h 1545"/>
                <a:gd name="T76" fmla="*/ 733 w 733"/>
                <a:gd name="T77" fmla="*/ 1117 h 1545"/>
                <a:gd name="T78" fmla="*/ 308 w 733"/>
                <a:gd name="T79" fmla="*/ 1095 h 1545"/>
                <a:gd name="T80" fmla="*/ 308 w 733"/>
                <a:gd name="T81" fmla="*/ 1139 h 1545"/>
                <a:gd name="T82" fmla="*/ 733 w 733"/>
                <a:gd name="T83" fmla="*/ 1117 h 1545"/>
                <a:gd name="T84" fmla="*/ 493 w 733"/>
                <a:gd name="T85" fmla="*/ 94 h 1545"/>
                <a:gd name="T86" fmla="*/ 241 w 733"/>
                <a:gd name="T87" fmla="*/ 94 h 1545"/>
                <a:gd name="T88" fmla="*/ 161 w 733"/>
                <a:gd name="T89" fmla="*/ 104 h 1545"/>
                <a:gd name="T90" fmla="*/ 183 w 733"/>
                <a:gd name="T91" fmla="*/ 275 h 1545"/>
                <a:gd name="T92" fmla="*/ 573 w 733"/>
                <a:gd name="T93" fmla="*/ 253 h 1545"/>
                <a:gd name="T94" fmla="*/ 563 w 733"/>
                <a:gd name="T95" fmla="*/ 94 h 1545"/>
                <a:gd name="T96" fmla="*/ 446 w 733"/>
                <a:gd name="T97" fmla="*/ 94 h 1545"/>
                <a:gd name="T98" fmla="*/ 367 w 733"/>
                <a:gd name="T99" fmla="*/ 44 h 1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33" h="1545">
                  <a:moveTo>
                    <a:pt x="161" y="751"/>
                  </a:moveTo>
                  <a:cubicBezTo>
                    <a:pt x="44" y="751"/>
                    <a:pt x="44" y="751"/>
                    <a:pt x="44" y="751"/>
                  </a:cubicBezTo>
                  <a:cubicBezTo>
                    <a:pt x="20" y="751"/>
                    <a:pt x="0" y="732"/>
                    <a:pt x="0" y="707"/>
                  </a:cubicBezTo>
                  <a:cubicBezTo>
                    <a:pt x="0" y="591"/>
                    <a:pt x="0" y="591"/>
                    <a:pt x="0" y="591"/>
                  </a:cubicBezTo>
                  <a:cubicBezTo>
                    <a:pt x="0" y="567"/>
                    <a:pt x="20" y="547"/>
                    <a:pt x="44" y="547"/>
                  </a:cubicBezTo>
                  <a:cubicBezTo>
                    <a:pt x="161" y="547"/>
                    <a:pt x="161" y="547"/>
                    <a:pt x="161" y="547"/>
                  </a:cubicBezTo>
                  <a:cubicBezTo>
                    <a:pt x="185" y="547"/>
                    <a:pt x="205" y="567"/>
                    <a:pt x="205" y="591"/>
                  </a:cubicBezTo>
                  <a:cubicBezTo>
                    <a:pt x="205" y="707"/>
                    <a:pt x="205" y="707"/>
                    <a:pt x="205" y="707"/>
                  </a:cubicBezTo>
                  <a:cubicBezTo>
                    <a:pt x="205" y="732"/>
                    <a:pt x="185" y="751"/>
                    <a:pt x="161" y="751"/>
                  </a:cubicBezTo>
                  <a:close/>
                  <a:moveTo>
                    <a:pt x="44" y="591"/>
                  </a:moveTo>
                  <a:cubicBezTo>
                    <a:pt x="44" y="707"/>
                    <a:pt x="44" y="707"/>
                    <a:pt x="44" y="707"/>
                  </a:cubicBezTo>
                  <a:cubicBezTo>
                    <a:pt x="161" y="707"/>
                    <a:pt x="161" y="707"/>
                    <a:pt x="161" y="707"/>
                  </a:cubicBezTo>
                  <a:cubicBezTo>
                    <a:pt x="161" y="591"/>
                    <a:pt x="161" y="591"/>
                    <a:pt x="161" y="591"/>
                  </a:cubicBezTo>
                  <a:lnTo>
                    <a:pt x="44" y="591"/>
                  </a:lnTo>
                  <a:close/>
                  <a:moveTo>
                    <a:pt x="733" y="578"/>
                  </a:moveTo>
                  <a:cubicBezTo>
                    <a:pt x="733" y="566"/>
                    <a:pt x="723" y="556"/>
                    <a:pt x="711" y="556"/>
                  </a:cubicBezTo>
                  <a:cubicBezTo>
                    <a:pt x="308" y="556"/>
                    <a:pt x="308" y="556"/>
                    <a:pt x="308" y="556"/>
                  </a:cubicBezTo>
                  <a:cubicBezTo>
                    <a:pt x="296" y="556"/>
                    <a:pt x="286" y="566"/>
                    <a:pt x="286" y="578"/>
                  </a:cubicBezTo>
                  <a:cubicBezTo>
                    <a:pt x="286" y="590"/>
                    <a:pt x="296" y="600"/>
                    <a:pt x="308" y="600"/>
                  </a:cubicBezTo>
                  <a:cubicBezTo>
                    <a:pt x="711" y="600"/>
                    <a:pt x="711" y="600"/>
                    <a:pt x="711" y="600"/>
                  </a:cubicBezTo>
                  <a:cubicBezTo>
                    <a:pt x="723" y="600"/>
                    <a:pt x="733" y="590"/>
                    <a:pt x="733" y="578"/>
                  </a:cubicBezTo>
                  <a:close/>
                  <a:moveTo>
                    <a:pt x="733" y="720"/>
                  </a:moveTo>
                  <a:cubicBezTo>
                    <a:pt x="733" y="708"/>
                    <a:pt x="723" y="698"/>
                    <a:pt x="711" y="698"/>
                  </a:cubicBezTo>
                  <a:cubicBezTo>
                    <a:pt x="308" y="698"/>
                    <a:pt x="308" y="698"/>
                    <a:pt x="308" y="698"/>
                  </a:cubicBezTo>
                  <a:cubicBezTo>
                    <a:pt x="296" y="698"/>
                    <a:pt x="286" y="708"/>
                    <a:pt x="286" y="720"/>
                  </a:cubicBezTo>
                  <a:cubicBezTo>
                    <a:pt x="286" y="732"/>
                    <a:pt x="296" y="742"/>
                    <a:pt x="308" y="742"/>
                  </a:cubicBezTo>
                  <a:cubicBezTo>
                    <a:pt x="711" y="742"/>
                    <a:pt x="711" y="742"/>
                    <a:pt x="711" y="742"/>
                  </a:cubicBezTo>
                  <a:cubicBezTo>
                    <a:pt x="723" y="742"/>
                    <a:pt x="733" y="732"/>
                    <a:pt x="733" y="720"/>
                  </a:cubicBezTo>
                  <a:close/>
                  <a:moveTo>
                    <a:pt x="161" y="1545"/>
                  </a:moveTo>
                  <a:cubicBezTo>
                    <a:pt x="44" y="1545"/>
                    <a:pt x="44" y="1545"/>
                    <a:pt x="44" y="1545"/>
                  </a:cubicBezTo>
                  <a:cubicBezTo>
                    <a:pt x="20" y="1545"/>
                    <a:pt x="0" y="1525"/>
                    <a:pt x="0" y="1501"/>
                  </a:cubicBezTo>
                  <a:cubicBezTo>
                    <a:pt x="0" y="1384"/>
                    <a:pt x="0" y="1384"/>
                    <a:pt x="0" y="1384"/>
                  </a:cubicBezTo>
                  <a:cubicBezTo>
                    <a:pt x="0" y="1360"/>
                    <a:pt x="20" y="1340"/>
                    <a:pt x="44" y="1340"/>
                  </a:cubicBezTo>
                  <a:cubicBezTo>
                    <a:pt x="161" y="1340"/>
                    <a:pt x="161" y="1340"/>
                    <a:pt x="161" y="1340"/>
                  </a:cubicBezTo>
                  <a:cubicBezTo>
                    <a:pt x="185" y="1340"/>
                    <a:pt x="205" y="1360"/>
                    <a:pt x="205" y="1384"/>
                  </a:cubicBezTo>
                  <a:cubicBezTo>
                    <a:pt x="205" y="1501"/>
                    <a:pt x="205" y="1501"/>
                    <a:pt x="205" y="1501"/>
                  </a:cubicBezTo>
                  <a:cubicBezTo>
                    <a:pt x="205" y="1525"/>
                    <a:pt x="185" y="1545"/>
                    <a:pt x="161" y="1545"/>
                  </a:cubicBezTo>
                  <a:close/>
                  <a:moveTo>
                    <a:pt x="44" y="1384"/>
                  </a:moveTo>
                  <a:cubicBezTo>
                    <a:pt x="44" y="1501"/>
                    <a:pt x="44" y="1501"/>
                    <a:pt x="44" y="1501"/>
                  </a:cubicBezTo>
                  <a:cubicBezTo>
                    <a:pt x="161" y="1501"/>
                    <a:pt x="161" y="1501"/>
                    <a:pt x="161" y="1501"/>
                  </a:cubicBezTo>
                  <a:cubicBezTo>
                    <a:pt x="161" y="1384"/>
                    <a:pt x="161" y="1384"/>
                    <a:pt x="161" y="1384"/>
                  </a:cubicBezTo>
                  <a:lnTo>
                    <a:pt x="44" y="1384"/>
                  </a:lnTo>
                  <a:close/>
                  <a:moveTo>
                    <a:pt x="733" y="1372"/>
                  </a:moveTo>
                  <a:cubicBezTo>
                    <a:pt x="733" y="1359"/>
                    <a:pt x="723" y="1350"/>
                    <a:pt x="711" y="1350"/>
                  </a:cubicBezTo>
                  <a:cubicBezTo>
                    <a:pt x="308" y="1350"/>
                    <a:pt x="308" y="1350"/>
                    <a:pt x="308" y="1350"/>
                  </a:cubicBezTo>
                  <a:cubicBezTo>
                    <a:pt x="296" y="1350"/>
                    <a:pt x="286" y="1359"/>
                    <a:pt x="286" y="1372"/>
                  </a:cubicBezTo>
                  <a:cubicBezTo>
                    <a:pt x="286" y="1384"/>
                    <a:pt x="296" y="1394"/>
                    <a:pt x="308" y="1394"/>
                  </a:cubicBezTo>
                  <a:cubicBezTo>
                    <a:pt x="711" y="1394"/>
                    <a:pt x="711" y="1394"/>
                    <a:pt x="711" y="1394"/>
                  </a:cubicBezTo>
                  <a:cubicBezTo>
                    <a:pt x="723" y="1394"/>
                    <a:pt x="733" y="1384"/>
                    <a:pt x="733" y="1372"/>
                  </a:cubicBezTo>
                  <a:close/>
                  <a:moveTo>
                    <a:pt x="733" y="1513"/>
                  </a:moveTo>
                  <a:cubicBezTo>
                    <a:pt x="733" y="1501"/>
                    <a:pt x="723" y="1491"/>
                    <a:pt x="711" y="1491"/>
                  </a:cubicBezTo>
                  <a:cubicBezTo>
                    <a:pt x="308" y="1491"/>
                    <a:pt x="308" y="1491"/>
                    <a:pt x="308" y="1491"/>
                  </a:cubicBezTo>
                  <a:cubicBezTo>
                    <a:pt x="296" y="1491"/>
                    <a:pt x="286" y="1501"/>
                    <a:pt x="286" y="1513"/>
                  </a:cubicBezTo>
                  <a:cubicBezTo>
                    <a:pt x="286" y="1525"/>
                    <a:pt x="296" y="1535"/>
                    <a:pt x="308" y="1535"/>
                  </a:cubicBezTo>
                  <a:cubicBezTo>
                    <a:pt x="711" y="1535"/>
                    <a:pt x="711" y="1535"/>
                    <a:pt x="711" y="1535"/>
                  </a:cubicBezTo>
                  <a:cubicBezTo>
                    <a:pt x="723" y="1535"/>
                    <a:pt x="733" y="1525"/>
                    <a:pt x="733" y="1513"/>
                  </a:cubicBezTo>
                  <a:close/>
                  <a:moveTo>
                    <a:pt x="161" y="1148"/>
                  </a:moveTo>
                  <a:cubicBezTo>
                    <a:pt x="44" y="1148"/>
                    <a:pt x="44" y="1148"/>
                    <a:pt x="44" y="1148"/>
                  </a:cubicBezTo>
                  <a:cubicBezTo>
                    <a:pt x="20" y="1148"/>
                    <a:pt x="0" y="1128"/>
                    <a:pt x="0" y="1104"/>
                  </a:cubicBezTo>
                  <a:cubicBezTo>
                    <a:pt x="0" y="987"/>
                    <a:pt x="0" y="987"/>
                    <a:pt x="0" y="987"/>
                  </a:cubicBezTo>
                  <a:cubicBezTo>
                    <a:pt x="0" y="963"/>
                    <a:pt x="20" y="943"/>
                    <a:pt x="44" y="943"/>
                  </a:cubicBezTo>
                  <a:cubicBezTo>
                    <a:pt x="161" y="943"/>
                    <a:pt x="161" y="943"/>
                    <a:pt x="161" y="943"/>
                  </a:cubicBezTo>
                  <a:cubicBezTo>
                    <a:pt x="185" y="943"/>
                    <a:pt x="205" y="963"/>
                    <a:pt x="205" y="987"/>
                  </a:cubicBezTo>
                  <a:cubicBezTo>
                    <a:pt x="205" y="1104"/>
                    <a:pt x="205" y="1104"/>
                    <a:pt x="205" y="1104"/>
                  </a:cubicBezTo>
                  <a:cubicBezTo>
                    <a:pt x="205" y="1128"/>
                    <a:pt x="185" y="1148"/>
                    <a:pt x="161" y="1148"/>
                  </a:cubicBezTo>
                  <a:close/>
                  <a:moveTo>
                    <a:pt x="44" y="987"/>
                  </a:moveTo>
                  <a:cubicBezTo>
                    <a:pt x="44" y="1104"/>
                    <a:pt x="44" y="1104"/>
                    <a:pt x="44" y="1104"/>
                  </a:cubicBezTo>
                  <a:cubicBezTo>
                    <a:pt x="161" y="1104"/>
                    <a:pt x="161" y="1104"/>
                    <a:pt x="161" y="1104"/>
                  </a:cubicBezTo>
                  <a:cubicBezTo>
                    <a:pt x="161" y="987"/>
                    <a:pt x="161" y="987"/>
                    <a:pt x="161" y="987"/>
                  </a:cubicBezTo>
                  <a:lnTo>
                    <a:pt x="44" y="987"/>
                  </a:lnTo>
                  <a:close/>
                  <a:moveTo>
                    <a:pt x="733" y="975"/>
                  </a:moveTo>
                  <a:cubicBezTo>
                    <a:pt x="733" y="963"/>
                    <a:pt x="723" y="953"/>
                    <a:pt x="711" y="953"/>
                  </a:cubicBezTo>
                  <a:cubicBezTo>
                    <a:pt x="308" y="953"/>
                    <a:pt x="308" y="953"/>
                    <a:pt x="308" y="953"/>
                  </a:cubicBezTo>
                  <a:cubicBezTo>
                    <a:pt x="296" y="953"/>
                    <a:pt x="286" y="963"/>
                    <a:pt x="286" y="975"/>
                  </a:cubicBezTo>
                  <a:cubicBezTo>
                    <a:pt x="286" y="987"/>
                    <a:pt x="296" y="997"/>
                    <a:pt x="308" y="997"/>
                  </a:cubicBezTo>
                  <a:cubicBezTo>
                    <a:pt x="711" y="997"/>
                    <a:pt x="711" y="997"/>
                    <a:pt x="711" y="997"/>
                  </a:cubicBezTo>
                  <a:cubicBezTo>
                    <a:pt x="723" y="997"/>
                    <a:pt x="733" y="987"/>
                    <a:pt x="733" y="975"/>
                  </a:cubicBezTo>
                  <a:close/>
                  <a:moveTo>
                    <a:pt x="733" y="1117"/>
                  </a:moveTo>
                  <a:cubicBezTo>
                    <a:pt x="733" y="1104"/>
                    <a:pt x="723" y="1095"/>
                    <a:pt x="711" y="1095"/>
                  </a:cubicBezTo>
                  <a:cubicBezTo>
                    <a:pt x="308" y="1095"/>
                    <a:pt x="308" y="1095"/>
                    <a:pt x="308" y="1095"/>
                  </a:cubicBezTo>
                  <a:cubicBezTo>
                    <a:pt x="296" y="1095"/>
                    <a:pt x="286" y="1104"/>
                    <a:pt x="286" y="1117"/>
                  </a:cubicBezTo>
                  <a:cubicBezTo>
                    <a:pt x="286" y="1129"/>
                    <a:pt x="296" y="1139"/>
                    <a:pt x="308" y="1139"/>
                  </a:cubicBezTo>
                  <a:cubicBezTo>
                    <a:pt x="711" y="1139"/>
                    <a:pt x="711" y="1139"/>
                    <a:pt x="711" y="1139"/>
                  </a:cubicBezTo>
                  <a:cubicBezTo>
                    <a:pt x="723" y="1139"/>
                    <a:pt x="733" y="1129"/>
                    <a:pt x="733" y="1117"/>
                  </a:cubicBezTo>
                  <a:close/>
                  <a:moveTo>
                    <a:pt x="563" y="94"/>
                  </a:moveTo>
                  <a:cubicBezTo>
                    <a:pt x="493" y="94"/>
                    <a:pt x="493" y="94"/>
                    <a:pt x="493" y="94"/>
                  </a:cubicBezTo>
                  <a:cubicBezTo>
                    <a:pt x="477" y="39"/>
                    <a:pt x="426" y="0"/>
                    <a:pt x="367" y="0"/>
                  </a:cubicBezTo>
                  <a:cubicBezTo>
                    <a:pt x="308" y="0"/>
                    <a:pt x="257" y="39"/>
                    <a:pt x="241" y="94"/>
                  </a:cubicBezTo>
                  <a:cubicBezTo>
                    <a:pt x="171" y="94"/>
                    <a:pt x="171" y="94"/>
                    <a:pt x="171" y="94"/>
                  </a:cubicBezTo>
                  <a:cubicBezTo>
                    <a:pt x="165" y="94"/>
                    <a:pt x="161" y="98"/>
                    <a:pt x="161" y="104"/>
                  </a:cubicBezTo>
                  <a:cubicBezTo>
                    <a:pt x="161" y="253"/>
                    <a:pt x="161" y="253"/>
                    <a:pt x="161" y="253"/>
                  </a:cubicBezTo>
                  <a:cubicBezTo>
                    <a:pt x="161" y="265"/>
                    <a:pt x="171" y="275"/>
                    <a:pt x="183" y="275"/>
                  </a:cubicBezTo>
                  <a:cubicBezTo>
                    <a:pt x="551" y="275"/>
                    <a:pt x="551" y="275"/>
                    <a:pt x="551" y="275"/>
                  </a:cubicBezTo>
                  <a:cubicBezTo>
                    <a:pt x="563" y="275"/>
                    <a:pt x="573" y="265"/>
                    <a:pt x="573" y="253"/>
                  </a:cubicBezTo>
                  <a:cubicBezTo>
                    <a:pt x="573" y="104"/>
                    <a:pt x="573" y="104"/>
                    <a:pt x="573" y="104"/>
                  </a:cubicBezTo>
                  <a:cubicBezTo>
                    <a:pt x="573" y="98"/>
                    <a:pt x="569" y="94"/>
                    <a:pt x="563" y="94"/>
                  </a:cubicBezTo>
                  <a:close/>
                  <a:moveTo>
                    <a:pt x="367" y="44"/>
                  </a:moveTo>
                  <a:cubicBezTo>
                    <a:pt x="402" y="44"/>
                    <a:pt x="432" y="64"/>
                    <a:pt x="446" y="94"/>
                  </a:cubicBezTo>
                  <a:cubicBezTo>
                    <a:pt x="288" y="94"/>
                    <a:pt x="288" y="94"/>
                    <a:pt x="288" y="94"/>
                  </a:cubicBezTo>
                  <a:cubicBezTo>
                    <a:pt x="302" y="64"/>
                    <a:pt x="332" y="44"/>
                    <a:pt x="367" y="44"/>
                  </a:cubicBezTo>
                  <a:close/>
                </a:path>
              </a:pathLst>
            </a:custGeom>
            <a:solidFill>
              <a:srgbClr val="1C47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47" name="TextBox 8">
            <a:extLst>
              <a:ext uri="{FF2B5EF4-FFF2-40B4-BE49-F238E27FC236}">
                <a16:creationId xmlns:a16="http://schemas.microsoft.com/office/drawing/2014/main" id="{47C8A118-8482-471A-8BAF-B196DFD29E6F}"/>
              </a:ext>
            </a:extLst>
          </p:cNvPr>
          <p:cNvSpPr txBox="1"/>
          <p:nvPr userDrawn="1"/>
        </p:nvSpPr>
        <p:spPr>
          <a:xfrm>
            <a:off x="571693" y="3818803"/>
            <a:ext cx="1704475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en-US" sz="3200" dirty="0">
                <a:solidFill>
                  <a:schemeClr val="tx2"/>
                </a:solidFill>
                <a:latin typeface="Arial"/>
                <a:cs typeface="Arial" panose="020B0604020202020204" pitchFamily="34" charset="0"/>
              </a:rPr>
              <a:t>Agenda</a:t>
            </a:r>
            <a:endParaRPr lang="en-US" sz="2400" dirty="0">
              <a:solidFill>
                <a:schemeClr val="tx2"/>
              </a:solidFill>
              <a:latin typeface="Arial"/>
              <a:cs typeface="Arial" panose="020B0604020202020204" pitchFamily="34" charset="0"/>
            </a:endParaRPr>
          </a:p>
        </p:txBody>
      </p:sp>
      <p:pic>
        <p:nvPicPr>
          <p:cNvPr id="49" name="Picture 48" descr="C:\Users\92679\Desktop\branding\company logo\SEC logo Horizontal\الشعار مع الهتاف الاعلاني1.jpeg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0123" y="333450"/>
            <a:ext cx="1171765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629672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489" y="1375156"/>
            <a:ext cx="11063738" cy="461878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01992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744422" y="1087690"/>
            <a:ext cx="6994602" cy="47620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Title 1</a:t>
            </a:r>
          </a:p>
          <a:p>
            <a:pPr lvl="0"/>
            <a:r>
              <a:rPr lang="en-US" dirty="0" err="1"/>
              <a:t>Tweert</a:t>
            </a:r>
            <a:endParaRPr lang="en-US" dirty="0"/>
          </a:p>
          <a:p>
            <a:pPr lvl="0"/>
            <a:r>
              <a:rPr lang="en-US" dirty="0" err="1"/>
              <a:t>Sdfds</a:t>
            </a:r>
            <a:endParaRPr lang="en-US" dirty="0"/>
          </a:p>
          <a:p>
            <a:pPr lvl="0"/>
            <a:r>
              <a:rPr lang="en-US" dirty="0" err="1"/>
              <a:t>Sdffds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70673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398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37DF9659-1E95-4E88-9BB6-28288727D70A}"/>
              </a:ext>
            </a:extLst>
          </p:cNvPr>
          <p:cNvPicPr>
            <a:picLocks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26223" y="0"/>
            <a:ext cx="6761015" cy="6859588"/>
          </a:xfrm>
          <a:custGeom>
            <a:avLst/>
            <a:gdLst>
              <a:gd name="connsiteX0" fmla="*/ 0 w 6763657"/>
              <a:gd name="connsiteY0" fmla="*/ 0 h 6858000"/>
              <a:gd name="connsiteX1" fmla="*/ 6763657 w 6763657"/>
              <a:gd name="connsiteY1" fmla="*/ 0 h 6858000"/>
              <a:gd name="connsiteX2" fmla="*/ 6763657 w 6763657"/>
              <a:gd name="connsiteY2" fmla="*/ 5223881 h 6858000"/>
              <a:gd name="connsiteX3" fmla="*/ 5889593 w 6763657"/>
              <a:gd name="connsiteY3" fmla="*/ 6858000 h 6858000"/>
              <a:gd name="connsiteX4" fmla="*/ 0 w 676365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3657" h="6858000">
                <a:moveTo>
                  <a:pt x="0" y="0"/>
                </a:moveTo>
                <a:lnTo>
                  <a:pt x="6763657" y="0"/>
                </a:lnTo>
                <a:lnTo>
                  <a:pt x="6763657" y="5223881"/>
                </a:lnTo>
                <a:lnTo>
                  <a:pt x="588959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grpSp>
        <p:nvGrpSpPr>
          <p:cNvPr id="22" name="Group 23">
            <a:extLst>
              <a:ext uri="{FF2B5EF4-FFF2-40B4-BE49-F238E27FC236}">
                <a16:creationId xmlns:a16="http://schemas.microsoft.com/office/drawing/2014/main" id="{64E74A37-EF0C-49A6-A86D-23F1DABC8540}"/>
              </a:ext>
            </a:extLst>
          </p:cNvPr>
          <p:cNvGrpSpPr/>
          <p:nvPr userDrawn="1"/>
        </p:nvGrpSpPr>
        <p:grpSpPr bwMode="ltGray">
          <a:xfrm>
            <a:off x="1" y="2"/>
            <a:ext cx="8348700" cy="6859588"/>
            <a:chOff x="1" y="2"/>
            <a:chExt cx="8351962" cy="6858000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25CD201-9C2C-4C45-A7A6-B680BF88C459}"/>
                </a:ext>
              </a:extLst>
            </p:cNvPr>
            <p:cNvGrpSpPr/>
            <p:nvPr/>
          </p:nvGrpSpPr>
          <p:grpSpPr bwMode="ltGray">
            <a:xfrm>
              <a:off x="1" y="2"/>
              <a:ext cx="8348910" cy="6858000"/>
              <a:chOff x="1" y="2"/>
              <a:chExt cx="8348910" cy="6858000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C509B44-96C3-4909-8675-5D394244FA8E}"/>
                  </a:ext>
                </a:extLst>
              </p:cNvPr>
              <p:cNvSpPr/>
              <p:nvPr/>
            </p:nvSpPr>
            <p:spPr bwMode="ltGray">
              <a:xfrm>
                <a:off x="1" y="3"/>
                <a:ext cx="8253661" cy="6857999"/>
              </a:xfrm>
              <a:custGeom>
                <a:avLst/>
                <a:gdLst>
                  <a:gd name="connsiteX0" fmla="*/ 0 w 8253661"/>
                  <a:gd name="connsiteY0" fmla="*/ 0 h 6857999"/>
                  <a:gd name="connsiteX1" fmla="*/ 8221010 w 8253661"/>
                  <a:gd name="connsiteY1" fmla="*/ 0 h 6857999"/>
                  <a:gd name="connsiteX2" fmla="*/ 8242971 w 8253661"/>
                  <a:gd name="connsiteY2" fmla="*/ 288807 h 6857999"/>
                  <a:gd name="connsiteX3" fmla="*/ 8253661 w 8253661"/>
                  <a:gd name="connsiteY3" fmla="*/ 711578 h 6857999"/>
                  <a:gd name="connsiteX4" fmla="*/ 7995013 w 8253661"/>
                  <a:gd name="connsiteY4" fmla="*/ 2764776 h 6857999"/>
                  <a:gd name="connsiteX5" fmla="*/ 7913443 w 8253661"/>
                  <a:gd name="connsiteY5" fmla="*/ 3052029 h 6857999"/>
                  <a:gd name="connsiteX6" fmla="*/ 7850393 w 8253661"/>
                  <a:gd name="connsiteY6" fmla="*/ 3238367 h 6857999"/>
                  <a:gd name="connsiteX7" fmla="*/ 5378206 w 8253661"/>
                  <a:gd name="connsiteY7" fmla="*/ 6737384 h 6857999"/>
                  <a:gd name="connsiteX8" fmla="*/ 5227293 w 8253661"/>
                  <a:gd name="connsiteY8" fmla="*/ 6857999 h 6857999"/>
                  <a:gd name="connsiteX9" fmla="*/ 0 w 8253661"/>
                  <a:gd name="connsiteY9" fmla="*/ 6857999 h 6857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253661" h="6857999">
                    <a:moveTo>
                      <a:pt x="0" y="0"/>
                    </a:moveTo>
                    <a:lnTo>
                      <a:pt x="8221010" y="0"/>
                    </a:lnTo>
                    <a:lnTo>
                      <a:pt x="8242971" y="288807"/>
                    </a:lnTo>
                    <a:cubicBezTo>
                      <a:pt x="8250069" y="428835"/>
                      <a:pt x="8253661" y="569787"/>
                      <a:pt x="8253661" y="711578"/>
                    </a:cubicBezTo>
                    <a:cubicBezTo>
                      <a:pt x="8253661" y="1420536"/>
                      <a:pt x="8163861" y="2108521"/>
                      <a:pt x="7995013" y="2764776"/>
                    </a:cubicBezTo>
                    <a:lnTo>
                      <a:pt x="7913443" y="3052029"/>
                    </a:lnTo>
                    <a:lnTo>
                      <a:pt x="7850393" y="3238367"/>
                    </a:lnTo>
                    <a:cubicBezTo>
                      <a:pt x="7346473" y="4614638"/>
                      <a:pt x="6484888" y="5818500"/>
                      <a:pt x="5378206" y="6737384"/>
                    </a:cubicBezTo>
                    <a:lnTo>
                      <a:pt x="5227293" y="6857999"/>
                    </a:lnTo>
                    <a:lnTo>
                      <a:pt x="0" y="6857999"/>
                    </a:lnTo>
                    <a:close/>
                  </a:path>
                </a:pathLst>
              </a:custGeom>
              <a:solidFill>
                <a:srgbClr val="0038A5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599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41D78A2B-9C6D-4F47-ACC7-B8A7970FB042}"/>
                  </a:ext>
                </a:extLst>
              </p:cNvPr>
              <p:cNvGrpSpPr/>
              <p:nvPr/>
            </p:nvGrpSpPr>
            <p:grpSpPr bwMode="ltGray">
              <a:xfrm>
                <a:off x="5227293" y="2"/>
                <a:ext cx="3121618" cy="6857999"/>
                <a:chOff x="5227293" y="2"/>
                <a:chExt cx="3121618" cy="6857999"/>
              </a:xfrm>
            </p:grpSpPr>
            <p:sp>
              <p:nvSpPr>
                <p:cNvPr id="36" name="Freeform: Shape 35">
                  <a:extLst>
                    <a:ext uri="{FF2B5EF4-FFF2-40B4-BE49-F238E27FC236}">
                      <a16:creationId xmlns:a16="http://schemas.microsoft.com/office/drawing/2014/main" id="{788025A8-673F-4C37-BB0F-C1BD7FB8EE84}"/>
                    </a:ext>
                  </a:extLst>
                </p:cNvPr>
                <p:cNvSpPr/>
                <p:nvPr/>
              </p:nvSpPr>
              <p:spPr bwMode="ltGray">
                <a:xfrm>
                  <a:off x="7913443" y="2"/>
                  <a:ext cx="435468" cy="3052029"/>
                </a:xfrm>
                <a:custGeom>
                  <a:avLst/>
                  <a:gdLst>
                    <a:gd name="connsiteX0" fmla="*/ 307567 w 435468"/>
                    <a:gd name="connsiteY0" fmla="*/ 0 h 3052029"/>
                    <a:gd name="connsiteX1" fmla="*/ 425011 w 435468"/>
                    <a:gd name="connsiteY1" fmla="*/ 0 h 3052029"/>
                    <a:gd name="connsiteX2" fmla="*/ 435468 w 435468"/>
                    <a:gd name="connsiteY2" fmla="*/ 413581 h 3052029"/>
                    <a:gd name="connsiteX3" fmla="*/ 66113 w 435468"/>
                    <a:gd name="connsiteY3" fmla="*/ 2856638 h 3052029"/>
                    <a:gd name="connsiteX4" fmla="*/ 0 w 435468"/>
                    <a:gd name="connsiteY4" fmla="*/ 3052029 h 3052029"/>
                    <a:gd name="connsiteX5" fmla="*/ 81570 w 435468"/>
                    <a:gd name="connsiteY5" fmla="*/ 2764776 h 3052029"/>
                    <a:gd name="connsiteX6" fmla="*/ 340218 w 435468"/>
                    <a:gd name="connsiteY6" fmla="*/ 711579 h 3052029"/>
                    <a:gd name="connsiteX7" fmla="*/ 329528 w 435468"/>
                    <a:gd name="connsiteY7" fmla="*/ 288807 h 30520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35468" h="3052029">
                      <a:moveTo>
                        <a:pt x="307567" y="0"/>
                      </a:moveTo>
                      <a:lnTo>
                        <a:pt x="425011" y="0"/>
                      </a:lnTo>
                      <a:lnTo>
                        <a:pt x="435468" y="413581"/>
                      </a:lnTo>
                      <a:cubicBezTo>
                        <a:pt x="435468" y="1264330"/>
                        <a:pt x="306155" y="2084877"/>
                        <a:pt x="66113" y="2856638"/>
                      </a:cubicBezTo>
                      <a:lnTo>
                        <a:pt x="0" y="3052029"/>
                      </a:lnTo>
                      <a:lnTo>
                        <a:pt x="81570" y="2764776"/>
                      </a:lnTo>
                      <a:cubicBezTo>
                        <a:pt x="250418" y="2108521"/>
                        <a:pt x="340218" y="1420537"/>
                        <a:pt x="340218" y="711579"/>
                      </a:cubicBezTo>
                      <a:cubicBezTo>
                        <a:pt x="340218" y="569787"/>
                        <a:pt x="336626" y="428835"/>
                        <a:pt x="329528" y="288807"/>
                      </a:cubicBezTo>
                      <a:close/>
                    </a:path>
                  </a:pathLst>
                </a:custGeom>
                <a:solidFill>
                  <a:srgbClr val="0038A5"/>
                </a:solidFill>
                <a:ln w="6350" cap="sq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en-US" sz="1599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7" name="Freeform: Shape 36">
                  <a:extLst>
                    <a:ext uri="{FF2B5EF4-FFF2-40B4-BE49-F238E27FC236}">
                      <a16:creationId xmlns:a16="http://schemas.microsoft.com/office/drawing/2014/main" id="{27D28533-067F-4999-8400-9548B0B90D6E}"/>
                    </a:ext>
                  </a:extLst>
                </p:cNvPr>
                <p:cNvSpPr/>
                <p:nvPr/>
              </p:nvSpPr>
              <p:spPr bwMode="ltGray">
                <a:xfrm>
                  <a:off x="5227293" y="3052032"/>
                  <a:ext cx="2686150" cy="3805969"/>
                </a:xfrm>
                <a:custGeom>
                  <a:avLst/>
                  <a:gdLst>
                    <a:gd name="connsiteX0" fmla="*/ 2686150 w 2686150"/>
                    <a:gd name="connsiteY0" fmla="*/ 0 h 3805969"/>
                    <a:gd name="connsiteX1" fmla="*/ 2657013 w 2686150"/>
                    <a:gd name="connsiteY1" fmla="*/ 102607 h 3805969"/>
                    <a:gd name="connsiteX2" fmla="*/ 461196 w 2686150"/>
                    <a:gd name="connsiteY2" fmla="*/ 3623514 h 3805969"/>
                    <a:gd name="connsiteX3" fmla="*/ 261049 w 2686150"/>
                    <a:gd name="connsiteY3" fmla="*/ 3805969 h 3805969"/>
                    <a:gd name="connsiteX4" fmla="*/ 0 w 2686150"/>
                    <a:gd name="connsiteY4" fmla="*/ 3805969 h 3805969"/>
                    <a:gd name="connsiteX5" fmla="*/ 150913 w 2686150"/>
                    <a:gd name="connsiteY5" fmla="*/ 3685354 h 3805969"/>
                    <a:gd name="connsiteX6" fmla="*/ 2623100 w 2686150"/>
                    <a:gd name="connsiteY6" fmla="*/ 186338 h 38059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686150" h="3805969">
                      <a:moveTo>
                        <a:pt x="2686150" y="0"/>
                      </a:moveTo>
                      <a:lnTo>
                        <a:pt x="2657013" y="102607"/>
                      </a:lnTo>
                      <a:cubicBezTo>
                        <a:pt x="2234439" y="1461227"/>
                        <a:pt x="1468705" y="2668657"/>
                        <a:pt x="461196" y="3623514"/>
                      </a:cubicBezTo>
                      <a:lnTo>
                        <a:pt x="261049" y="3805969"/>
                      </a:lnTo>
                      <a:lnTo>
                        <a:pt x="0" y="3805969"/>
                      </a:lnTo>
                      <a:lnTo>
                        <a:pt x="150913" y="3685354"/>
                      </a:lnTo>
                      <a:cubicBezTo>
                        <a:pt x="1257595" y="2766470"/>
                        <a:pt x="2119180" y="1562609"/>
                        <a:pt x="2623100" y="186338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6350" cap="sq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en-US" sz="1599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4F99563-D57A-466B-A511-C9E45BFAB875}"/>
                </a:ext>
              </a:extLst>
            </p:cNvPr>
            <p:cNvSpPr/>
            <p:nvPr/>
          </p:nvSpPr>
          <p:spPr bwMode="ltGray">
            <a:xfrm>
              <a:off x="2" y="2"/>
              <a:ext cx="8351961" cy="6857999"/>
            </a:xfrm>
            <a:custGeom>
              <a:avLst/>
              <a:gdLst>
                <a:gd name="connsiteX0" fmla="*/ 0 w 8351961"/>
                <a:gd name="connsiteY0" fmla="*/ 0 h 6857999"/>
                <a:gd name="connsiteX1" fmla="*/ 8347511 w 8351961"/>
                <a:gd name="connsiteY1" fmla="*/ 0 h 6857999"/>
                <a:gd name="connsiteX2" fmla="*/ 8351961 w 8351961"/>
                <a:gd name="connsiteY2" fmla="*/ 176000 h 6857999"/>
                <a:gd name="connsiteX3" fmla="*/ 5051902 w 8351961"/>
                <a:gd name="connsiteY3" fmla="*/ 6759420 h 6857999"/>
                <a:gd name="connsiteX4" fmla="*/ 4913276 w 8351961"/>
                <a:gd name="connsiteY4" fmla="*/ 6857999 h 6857999"/>
                <a:gd name="connsiteX5" fmla="*/ 0 w 8351961"/>
                <a:gd name="connsiteY5" fmla="*/ 6857999 h 6857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51961" h="6857999">
                  <a:moveTo>
                    <a:pt x="0" y="0"/>
                  </a:moveTo>
                  <a:lnTo>
                    <a:pt x="8347511" y="0"/>
                  </a:lnTo>
                  <a:lnTo>
                    <a:pt x="8351961" y="176000"/>
                  </a:lnTo>
                  <a:cubicBezTo>
                    <a:pt x="8351961" y="2870039"/>
                    <a:pt x="7055241" y="5261213"/>
                    <a:pt x="5051902" y="6759420"/>
                  </a:cubicBezTo>
                  <a:lnTo>
                    <a:pt x="4913276" y="6857999"/>
                  </a:lnTo>
                  <a:lnTo>
                    <a:pt x="0" y="6857999"/>
                  </a:lnTo>
                  <a:close/>
                </a:path>
              </a:pathLst>
            </a:cu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599" dirty="0">
                <a:solidFill>
                  <a:schemeClr val="bg1"/>
                </a:solidFill>
              </a:endParaRPr>
            </a:p>
          </p:txBody>
        </p:sp>
      </p:grpSp>
      <p:pic>
        <p:nvPicPr>
          <p:cNvPr id="38" name="Picture 30">
            <a:extLst>
              <a:ext uri="{FF2B5EF4-FFF2-40B4-BE49-F238E27FC236}">
                <a16:creationId xmlns:a16="http://schemas.microsoft.com/office/drawing/2014/main" id="{5BF6018E-EBDD-432A-B1A5-A51D23B4C61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 rot="10800000" flipH="1" flipV="1">
            <a:off x="11002592" y="4511214"/>
            <a:ext cx="1187819" cy="2348374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1727" y="5330542"/>
            <a:ext cx="5644594" cy="21549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399" dirty="0">
                <a:solidFill>
                  <a:schemeClr val="accent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727" y="4039146"/>
            <a:ext cx="5644594" cy="3078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999" dirty="0">
                <a:solidFill>
                  <a:schemeClr val="accent5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727" y="1701065"/>
            <a:ext cx="5644594" cy="13545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398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9" name="Picture 31" descr="C:\Users\92679\Desktop\branding\company logo\SEC logo Horizontal\الشعار مع الهتاف الاعلاني1.jpeg.png">
            <a:extLst>
              <a:ext uri="{FF2B5EF4-FFF2-40B4-BE49-F238E27FC236}">
                <a16:creationId xmlns:a16="http://schemas.microsoft.com/office/drawing/2014/main" id="{20141EF4-62EB-425E-827D-D777424404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550585" y="703112"/>
            <a:ext cx="2678305" cy="823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30662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9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520" y="247995"/>
            <a:ext cx="11078199" cy="731689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520" y="1092896"/>
            <a:ext cx="11078199" cy="2770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799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518" y="41607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9CAB38E7-419E-4D7E-A754-1A7E68180C5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BA740D4-C432-4AAA-B85C-A075A266B8FD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930933" y="6555449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50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5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81567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9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519" y="1706958"/>
            <a:ext cx="3811559" cy="69510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08107" y="6500259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50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5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518" y="41607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B2F8C2E7-5D79-4D33-BD70-8D1E5D686AFA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930933" y="6555449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50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5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77479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9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520" y="3044986"/>
            <a:ext cx="5063797" cy="769619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08107" y="6500259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50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5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518" y="41607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2DEB82E6-56A0-4C53-9A3E-351B71E9794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930933" y="6555449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50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5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081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398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520" y="4581529"/>
            <a:ext cx="11078199" cy="677265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39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08107" y="6500259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50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5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518" y="41607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D88ED45-7E07-4163-8438-A4BA7F89E634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930933" y="6555449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50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5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59599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363" y="9018"/>
            <a:ext cx="8903078" cy="900104"/>
          </a:xfrm>
          <a:prstGeom prst="rect">
            <a:avLst/>
          </a:prstGeom>
        </p:spPr>
        <p:txBody>
          <a:bodyPr/>
          <a:lstStyle>
            <a:lvl1pPr algn="l">
              <a:defRPr baseline="0">
                <a:solidFill>
                  <a:srgbClr val="1C479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362" y="1161279"/>
            <a:ext cx="10968514" cy="452701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136590" y="6449352"/>
            <a:ext cx="2843689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fld id="{4338F7A6-0130-4DC0-A616-2DDDC0EA7DC2}" type="datetime4">
              <a:rPr lang="en-US" smtClean="0"/>
              <a:t>May 23, 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7517" y="6449352"/>
            <a:ext cx="6369804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40073" y="6449352"/>
            <a:ext cx="524329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fld id="{BA72B151-4434-4606-98AB-039C983CD3F5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667369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399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124" y="3531141"/>
            <a:ext cx="9176990" cy="549253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399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124" y="4285623"/>
            <a:ext cx="9176990" cy="27706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799" b="0">
                <a:solidFill>
                  <a:schemeClr val="tx1"/>
                </a:solidFill>
              </a:defRPr>
            </a:lvl1pPr>
            <a:lvl2pPr marL="457017" indent="0" algn="ctr">
              <a:buNone/>
              <a:defRPr sz="1999"/>
            </a:lvl2pPr>
            <a:lvl3pPr marL="914034" indent="0" algn="ctr">
              <a:buNone/>
              <a:defRPr sz="1799"/>
            </a:lvl3pPr>
            <a:lvl4pPr marL="1371051" indent="0" algn="ctr">
              <a:buNone/>
              <a:defRPr sz="1599"/>
            </a:lvl4pPr>
            <a:lvl5pPr marL="1828068" indent="0" algn="ctr">
              <a:buNone/>
              <a:defRPr sz="1599"/>
            </a:lvl5pPr>
            <a:lvl6pPr marL="2285086" indent="0" algn="ctr">
              <a:buNone/>
              <a:defRPr sz="1599"/>
            </a:lvl6pPr>
            <a:lvl7pPr marL="2742103" indent="0" algn="ctr">
              <a:buNone/>
              <a:defRPr sz="1599"/>
            </a:lvl7pPr>
            <a:lvl8pPr marL="3199120" indent="0" algn="ctr">
              <a:buNone/>
              <a:defRPr sz="1599"/>
            </a:lvl8pPr>
            <a:lvl9pPr marL="3656137" indent="0" algn="ctr">
              <a:buNone/>
              <a:defRPr sz="1599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08107" y="6500259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50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5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518" y="41607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69E7B29-74F8-41D2-94C0-C38BD4BDDED3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930933" y="6555449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50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5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07271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9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2427" y="0"/>
            <a:ext cx="8774811" cy="68595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99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519" y="2745005"/>
            <a:ext cx="2513618" cy="769619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519" y="3660492"/>
            <a:ext cx="2513618" cy="55412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799" b="0">
                <a:solidFill>
                  <a:schemeClr val="tx1"/>
                </a:solidFill>
              </a:defRPr>
            </a:lvl1pPr>
            <a:lvl2pPr marL="456995" indent="0" algn="ctr">
              <a:buNone/>
              <a:defRPr sz="1999"/>
            </a:lvl2pPr>
            <a:lvl3pPr marL="913988" indent="0" algn="ctr">
              <a:buNone/>
              <a:defRPr sz="1799"/>
            </a:lvl3pPr>
            <a:lvl4pPr marL="1370983" indent="0" algn="ctr">
              <a:buNone/>
              <a:defRPr sz="1599"/>
            </a:lvl4pPr>
            <a:lvl5pPr marL="1827978" indent="0" algn="ctr">
              <a:buNone/>
              <a:defRPr sz="1599"/>
            </a:lvl5pPr>
            <a:lvl6pPr marL="2284972" indent="0" algn="ctr">
              <a:buNone/>
              <a:defRPr sz="1599"/>
            </a:lvl6pPr>
            <a:lvl7pPr marL="2741965" indent="0" algn="ctr">
              <a:buNone/>
              <a:defRPr sz="1599"/>
            </a:lvl7pPr>
            <a:lvl8pPr marL="3198960" indent="0" algn="ctr">
              <a:buNone/>
              <a:defRPr sz="1599"/>
            </a:lvl8pPr>
            <a:lvl9pPr marL="3655955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519" y="41607"/>
            <a:ext cx="2513619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9">
            <a:extLst>
              <a:ext uri="{FF2B5EF4-FFF2-40B4-BE49-F238E27FC236}">
                <a16:creationId xmlns:a16="http://schemas.microsoft.com/office/drawing/2014/main" id="{C1998D87-1338-4490-9FCC-B32CB285E0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80006" y="5321399"/>
            <a:ext cx="1027322" cy="1554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12" descr="C:\Users\92679\Desktop\branding\company logo\SEC logo Horizontal\الشعار مع الهتاف الاعلاني1.jpeg.png">
            <a:extLst>
              <a:ext uri="{FF2B5EF4-FFF2-40B4-BE49-F238E27FC236}">
                <a16:creationId xmlns:a16="http://schemas.microsoft.com/office/drawing/2014/main" id="{ADA303AC-67D1-4119-B136-468E534973E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151" y="6472119"/>
            <a:ext cx="1171612" cy="36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493763E7-3443-4AA7-9524-3D625AEA1C8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930933" y="6555449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50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5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73053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9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3031" y="0"/>
            <a:ext cx="7824207" cy="68595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2099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520" y="2745005"/>
            <a:ext cx="3464222" cy="769619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519" y="3660492"/>
            <a:ext cx="3464221" cy="27706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799" b="0">
                <a:solidFill>
                  <a:schemeClr val="tx1"/>
                </a:solidFill>
              </a:defRPr>
            </a:lvl1pPr>
            <a:lvl2pPr marL="456995" indent="0" algn="ctr">
              <a:buNone/>
              <a:defRPr sz="1999"/>
            </a:lvl2pPr>
            <a:lvl3pPr marL="913988" indent="0" algn="ctr">
              <a:buNone/>
              <a:defRPr sz="1799"/>
            </a:lvl3pPr>
            <a:lvl4pPr marL="1370983" indent="0" algn="ctr">
              <a:buNone/>
              <a:defRPr sz="1599"/>
            </a:lvl4pPr>
            <a:lvl5pPr marL="1827978" indent="0" algn="ctr">
              <a:buNone/>
              <a:defRPr sz="1599"/>
            </a:lvl5pPr>
            <a:lvl6pPr marL="2284972" indent="0" algn="ctr">
              <a:buNone/>
              <a:defRPr sz="1599"/>
            </a:lvl6pPr>
            <a:lvl7pPr marL="2741965" indent="0" algn="ctr">
              <a:buNone/>
              <a:defRPr sz="1599"/>
            </a:lvl7pPr>
            <a:lvl8pPr marL="3198960" indent="0" algn="ctr">
              <a:buNone/>
              <a:defRPr sz="1599"/>
            </a:lvl8pPr>
            <a:lvl9pPr marL="3655955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519" y="41607"/>
            <a:ext cx="3464223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9">
            <a:extLst>
              <a:ext uri="{FF2B5EF4-FFF2-40B4-BE49-F238E27FC236}">
                <a16:creationId xmlns:a16="http://schemas.microsoft.com/office/drawing/2014/main" id="{CAEE59A7-28EF-405C-81C4-4A4BAD41D4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80006" y="5321399"/>
            <a:ext cx="1027322" cy="1554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12" descr="C:\Users\92679\Desktop\branding\company logo\SEC logo Horizontal\الشعار مع الهتاف الاعلاني1.jpeg.png">
            <a:extLst>
              <a:ext uri="{FF2B5EF4-FFF2-40B4-BE49-F238E27FC236}">
                <a16:creationId xmlns:a16="http://schemas.microsoft.com/office/drawing/2014/main" id="{DE49B646-32D7-4BC4-BFE4-334EC582AF3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151" y="6472119"/>
            <a:ext cx="1171612" cy="36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1E88BD44-5111-41DF-98E9-60288842D45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930933" y="6555449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50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5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53653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9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0572" y="0"/>
            <a:ext cx="6096666" cy="68595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2099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520" y="247995"/>
            <a:ext cx="5063797" cy="73168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520" y="1092896"/>
            <a:ext cx="5063797" cy="27706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799" b="0">
                <a:solidFill>
                  <a:schemeClr val="tx1"/>
                </a:solidFill>
              </a:defRPr>
            </a:lvl1pPr>
            <a:lvl2pPr marL="457017" indent="0" algn="ctr">
              <a:buNone/>
              <a:defRPr sz="1999"/>
            </a:lvl2pPr>
            <a:lvl3pPr marL="914034" indent="0" algn="ctr">
              <a:buNone/>
              <a:defRPr sz="1799"/>
            </a:lvl3pPr>
            <a:lvl4pPr marL="1371051" indent="0" algn="ctr">
              <a:buNone/>
              <a:defRPr sz="1599"/>
            </a:lvl4pPr>
            <a:lvl5pPr marL="1828068" indent="0" algn="ctr">
              <a:buNone/>
              <a:defRPr sz="1599"/>
            </a:lvl5pPr>
            <a:lvl6pPr marL="2285086" indent="0" algn="ctr">
              <a:buNone/>
              <a:defRPr sz="1599"/>
            </a:lvl6pPr>
            <a:lvl7pPr marL="2742103" indent="0" algn="ctr">
              <a:buNone/>
              <a:defRPr sz="1599"/>
            </a:lvl7pPr>
            <a:lvl8pPr marL="3199120" indent="0" algn="ctr">
              <a:buNone/>
              <a:defRPr sz="1599"/>
            </a:lvl8pPr>
            <a:lvl9pPr marL="3656137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518" y="41607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FBC890D2-F46E-4B95-A50F-2ADC39F104EA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930933" y="6555449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50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5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Picture 11" descr="C:\Users\92679\Desktop\branding\company logo\SEC logo Horizontal\الشعار مع الهتاف الاعلاني1.jpeg.png">
            <a:extLst>
              <a:ext uri="{FF2B5EF4-FFF2-40B4-BE49-F238E27FC236}">
                <a16:creationId xmlns:a16="http://schemas.microsoft.com/office/drawing/2014/main" id="{2289DB63-5021-445C-BCD2-6A9BDFE0F3D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151" y="6472119"/>
            <a:ext cx="1171612" cy="36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73841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9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519" y="247995"/>
            <a:ext cx="6965007" cy="73168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27254" y="0"/>
            <a:ext cx="4359984" cy="68595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2099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519" y="1092896"/>
            <a:ext cx="6965007" cy="27706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799" b="0">
                <a:solidFill>
                  <a:schemeClr val="tx1"/>
                </a:solidFill>
              </a:defRPr>
            </a:lvl1pPr>
            <a:lvl2pPr marL="457017" indent="0" algn="ctr">
              <a:buNone/>
              <a:defRPr sz="1999"/>
            </a:lvl2pPr>
            <a:lvl3pPr marL="914034" indent="0" algn="ctr">
              <a:buNone/>
              <a:defRPr sz="1799"/>
            </a:lvl3pPr>
            <a:lvl4pPr marL="1371051" indent="0" algn="ctr">
              <a:buNone/>
              <a:defRPr sz="1599"/>
            </a:lvl4pPr>
            <a:lvl5pPr marL="1828068" indent="0" algn="ctr">
              <a:buNone/>
              <a:defRPr sz="1599"/>
            </a:lvl5pPr>
            <a:lvl6pPr marL="2285086" indent="0" algn="ctr">
              <a:buNone/>
              <a:defRPr sz="1599"/>
            </a:lvl6pPr>
            <a:lvl7pPr marL="2742103" indent="0" algn="ctr">
              <a:buNone/>
              <a:defRPr sz="1599"/>
            </a:lvl7pPr>
            <a:lvl8pPr marL="3199120" indent="0" algn="ctr">
              <a:buNone/>
              <a:defRPr sz="1599"/>
            </a:lvl8pPr>
            <a:lvl9pPr marL="3656137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519" y="6284334"/>
            <a:ext cx="696500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518" y="41607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9">
            <a:extLst>
              <a:ext uri="{FF2B5EF4-FFF2-40B4-BE49-F238E27FC236}">
                <a16:creationId xmlns:a16="http://schemas.microsoft.com/office/drawing/2014/main" id="{C6CD111C-02A0-4426-80A3-EE5245A363C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80006" y="5321399"/>
            <a:ext cx="1027322" cy="1554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12" descr="C:\Users\92679\Desktop\branding\company logo\SEC logo Horizontal\الشعار مع الهتاف الاعلاني1.jpeg.png">
            <a:extLst>
              <a:ext uri="{FF2B5EF4-FFF2-40B4-BE49-F238E27FC236}">
                <a16:creationId xmlns:a16="http://schemas.microsoft.com/office/drawing/2014/main" id="{DE94DBAE-3568-4F07-9697-5255FAC1348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151" y="6472119"/>
            <a:ext cx="1171612" cy="36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11C7A490-F1C7-40D3-922B-81A059D9535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930933" y="6555449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50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5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5E892A2-038A-42AD-93DE-4D9BEAE69248}"/>
              </a:ext>
            </a:extLst>
          </p:cNvPr>
          <p:cNvCxnSpPr/>
          <p:nvPr userDrawn="1"/>
        </p:nvCxnSpPr>
        <p:spPr>
          <a:xfrm flipV="1">
            <a:off x="564101" y="1024128"/>
            <a:ext cx="5751466" cy="16939"/>
          </a:xfrm>
          <a:prstGeom prst="line">
            <a:avLst/>
          </a:prstGeom>
          <a:noFill/>
          <a:ln w="38100" cap="flat" cmpd="sng" algn="ctr">
            <a:solidFill>
              <a:srgbClr val="FC71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9992085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9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77986" y="0"/>
            <a:ext cx="3409252" cy="68595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2099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08107" y="6500259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5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5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519" y="247995"/>
            <a:ext cx="7915611" cy="73168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519" y="1092896"/>
            <a:ext cx="7915611" cy="27706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799" b="0">
                <a:solidFill>
                  <a:schemeClr val="tx1"/>
                </a:solidFill>
              </a:defRPr>
            </a:lvl1pPr>
            <a:lvl2pPr marL="457017" indent="0" algn="ctr">
              <a:buNone/>
              <a:defRPr sz="1999"/>
            </a:lvl2pPr>
            <a:lvl3pPr marL="914034" indent="0" algn="ctr">
              <a:buNone/>
              <a:defRPr sz="1799"/>
            </a:lvl3pPr>
            <a:lvl4pPr marL="1371051" indent="0" algn="ctr">
              <a:buNone/>
              <a:defRPr sz="1599"/>
            </a:lvl4pPr>
            <a:lvl5pPr marL="1828068" indent="0" algn="ctr">
              <a:buNone/>
              <a:defRPr sz="1599"/>
            </a:lvl5pPr>
            <a:lvl6pPr marL="2285086" indent="0" algn="ctr">
              <a:buNone/>
              <a:defRPr sz="1599"/>
            </a:lvl6pPr>
            <a:lvl7pPr marL="2742103" indent="0" algn="ctr">
              <a:buNone/>
              <a:defRPr sz="1599"/>
            </a:lvl7pPr>
            <a:lvl8pPr marL="3199120" indent="0" algn="ctr">
              <a:buNone/>
              <a:defRPr sz="1599"/>
            </a:lvl8pPr>
            <a:lvl9pPr marL="3656137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03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518" y="41607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9">
            <a:extLst>
              <a:ext uri="{FF2B5EF4-FFF2-40B4-BE49-F238E27FC236}">
                <a16:creationId xmlns:a16="http://schemas.microsoft.com/office/drawing/2014/main" id="{718BE548-7EE4-48C9-AD62-F712DFEF5C3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80006" y="5321399"/>
            <a:ext cx="1027322" cy="1554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12" descr="C:\Users\92679\Desktop\branding\company logo\SEC logo Horizontal\الشعار مع الهتاف الاعلاني1.jpeg.png">
            <a:extLst>
              <a:ext uri="{FF2B5EF4-FFF2-40B4-BE49-F238E27FC236}">
                <a16:creationId xmlns:a16="http://schemas.microsoft.com/office/drawing/2014/main" id="{E56A4470-33F8-4A04-BA9B-2E51CD60B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151" y="6472119"/>
            <a:ext cx="1171612" cy="36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5DBFED00-F0DC-4C03-A1FC-1CC68C7D1635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930933" y="6555449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50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5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BC0170E-31F6-43B4-AB66-D4B9977C2851}"/>
              </a:ext>
            </a:extLst>
          </p:cNvPr>
          <p:cNvCxnSpPr/>
          <p:nvPr userDrawn="1"/>
        </p:nvCxnSpPr>
        <p:spPr>
          <a:xfrm flipV="1">
            <a:off x="564101" y="1024128"/>
            <a:ext cx="5751466" cy="16939"/>
          </a:xfrm>
          <a:prstGeom prst="line">
            <a:avLst/>
          </a:prstGeom>
          <a:noFill/>
          <a:ln w="38100" cap="flat" cmpd="sng" algn="ctr">
            <a:solidFill>
              <a:srgbClr val="FC71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15928372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9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08107" y="6500259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50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5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520" y="247995"/>
            <a:ext cx="11078199" cy="731689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518" y="41607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9">
            <a:extLst>
              <a:ext uri="{FF2B5EF4-FFF2-40B4-BE49-F238E27FC236}">
                <a16:creationId xmlns:a16="http://schemas.microsoft.com/office/drawing/2014/main" id="{059AC0A9-2201-46F8-B3BF-360AA9F2A1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80006" y="5321399"/>
            <a:ext cx="1027322" cy="1554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2A46B45-C316-4154-ABC2-FFFCCA4BA77D}"/>
              </a:ext>
            </a:extLst>
          </p:cNvPr>
          <p:cNvCxnSpPr/>
          <p:nvPr userDrawn="1"/>
        </p:nvCxnSpPr>
        <p:spPr>
          <a:xfrm flipV="1">
            <a:off x="564101" y="1024128"/>
            <a:ext cx="5751466" cy="16939"/>
          </a:xfrm>
          <a:prstGeom prst="line">
            <a:avLst/>
          </a:prstGeom>
          <a:noFill/>
          <a:ln w="38100" cap="flat" cmpd="sng" algn="ctr">
            <a:solidFill>
              <a:srgbClr val="FC7100"/>
            </a:solidFill>
            <a:prstDash val="solid"/>
          </a:ln>
          <a:effectLst/>
        </p:spPr>
      </p:cxnSp>
      <p:pic>
        <p:nvPicPr>
          <p:cNvPr id="13" name="Picture 12" descr="C:\Users\92679\Desktop\branding\company logo\SEC logo Horizontal\الشعار مع الهتاف الاعلاني1.jpeg.png">
            <a:extLst>
              <a:ext uri="{FF2B5EF4-FFF2-40B4-BE49-F238E27FC236}">
                <a16:creationId xmlns:a16="http://schemas.microsoft.com/office/drawing/2014/main" id="{55C5036A-D5A2-4795-A10D-A65BBD14C82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151" y="6472119"/>
            <a:ext cx="1171612" cy="36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29FB648B-39F3-4D79-8381-8C9AF4647195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930933" y="6555449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50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5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59557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519" y="6503175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518" y="41607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7EBE165-21EF-4567-B131-C9F5279A47C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5930933" y="6555449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50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5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70574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519" y="6503175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pic>
        <p:nvPicPr>
          <p:cNvPr id="5" name="Picture 4" descr="C:\Users\92679\Desktop\branding\company logo\SEC logo Horizontal\الشعار مع الهتاف الاعلاني1.jpeg.png">
            <a:extLst>
              <a:ext uri="{FF2B5EF4-FFF2-40B4-BE49-F238E27FC236}">
                <a16:creationId xmlns:a16="http://schemas.microsoft.com/office/drawing/2014/main" id="{A4850204-BC33-408C-9E54-702AA9D9E0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814460" y="2729319"/>
            <a:ext cx="4558319" cy="1400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51371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" y="0"/>
            <a:ext cx="158689" cy="158787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AU" sz="2199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22CEABC-2E21-43DD-A211-E5CFEAF7A0C2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-2" y="0"/>
            <a:ext cx="12187240" cy="6859588"/>
          </a:xfrm>
          <a:prstGeom prst="rect">
            <a:avLst/>
          </a:prstGeom>
        </p:spPr>
      </p:pic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526" y="172252"/>
            <a:ext cx="11078198" cy="731689"/>
          </a:xfrm>
        </p:spPr>
        <p:txBody>
          <a:bodyPr>
            <a:normAutofit/>
          </a:bodyPr>
          <a:lstStyle>
            <a:lvl1pPr>
              <a:defRPr sz="2199"/>
            </a:lvl1pPr>
          </a:lstStyle>
          <a:p>
            <a:r>
              <a:rPr lang="en-AU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526" y="884932"/>
            <a:ext cx="11078198" cy="277063"/>
          </a:xfrm>
        </p:spPr>
        <p:txBody>
          <a:bodyPr wrap="square">
            <a:noAutofit/>
          </a:bodyPr>
          <a:lstStyle>
            <a:lvl1pPr marL="0" indent="0" algn="l">
              <a:buNone/>
              <a:defRPr sz="1499" b="0">
                <a:solidFill>
                  <a:schemeClr val="tx1"/>
                </a:solidFill>
              </a:defRPr>
            </a:lvl1pPr>
            <a:lvl2pPr marL="457054" indent="0" algn="ctr">
              <a:buNone/>
              <a:defRPr sz="1999"/>
            </a:lvl2pPr>
            <a:lvl3pPr marL="914108" indent="0" algn="ctr">
              <a:buNone/>
              <a:defRPr sz="1798"/>
            </a:lvl3pPr>
            <a:lvl4pPr marL="1371161" indent="0" algn="ctr">
              <a:buNone/>
              <a:defRPr sz="1597"/>
            </a:lvl4pPr>
            <a:lvl5pPr marL="1828213" indent="0" algn="ctr">
              <a:buNone/>
              <a:defRPr sz="1597"/>
            </a:lvl5pPr>
            <a:lvl6pPr marL="2285270" indent="0" algn="ctr">
              <a:buNone/>
              <a:defRPr sz="1597"/>
            </a:lvl6pPr>
            <a:lvl7pPr marL="2742323" indent="0" algn="ctr">
              <a:buNone/>
              <a:defRPr sz="1597"/>
            </a:lvl7pPr>
            <a:lvl8pPr marL="3199377" indent="0" algn="ctr">
              <a:buNone/>
              <a:defRPr sz="1597"/>
            </a:lvl8pPr>
            <a:lvl9pPr marL="3656430" indent="0" algn="ctr">
              <a:buNone/>
              <a:defRPr sz="1597"/>
            </a:lvl9pPr>
          </a:lstStyle>
          <a:p>
            <a:r>
              <a:rPr lang="en-AU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08107" y="6500266"/>
            <a:ext cx="325373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5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AU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5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5279FDD-DCA3-46BC-A0F1-63050F51584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3908" y="89345"/>
            <a:ext cx="4478810" cy="123140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AU" dirty="0"/>
              <a:t>Chapter › Topic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522" y="6503181"/>
            <a:ext cx="7275017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AU" sz="800" dirty="0"/>
              <a:t>Source: …</a:t>
            </a:r>
          </a:p>
        </p:txBody>
      </p:sp>
      <p:cxnSp>
        <p:nvCxnSpPr>
          <p:cNvPr id="11" name="BottomLine">
            <a:extLst>
              <a:ext uri="{FF2B5EF4-FFF2-40B4-BE49-F238E27FC236}">
                <a16:creationId xmlns:a16="http://schemas.microsoft.com/office/drawing/2014/main" id="{73673E91-5CB5-4E6E-8788-9DD3BC675009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526" y="6455263"/>
            <a:ext cx="1107819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TopLine">
            <a:extLst>
              <a:ext uri="{FF2B5EF4-FFF2-40B4-BE49-F238E27FC236}">
                <a16:creationId xmlns:a16="http://schemas.microsoft.com/office/drawing/2014/main" id="{BEB66CEF-C1A7-43DC-8129-265CC0E3CB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526" y="1182179"/>
            <a:ext cx="1107819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26796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708" y="4407922"/>
            <a:ext cx="10359152" cy="1362390"/>
          </a:xfrm>
          <a:prstGeom prst="rect">
            <a:avLst/>
          </a:prstGeom>
        </p:spPr>
        <p:txBody>
          <a:bodyPr anchor="t"/>
          <a:lstStyle>
            <a:lvl1pPr algn="l">
              <a:defRPr sz="4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708" y="2907387"/>
            <a:ext cx="10359152" cy="15005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544102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8820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32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176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720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2646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8087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3528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136590" y="6449352"/>
            <a:ext cx="2843689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fld id="{A3D9F0D9-D904-4BC2-BE21-E0EAE8774397}" type="datetime4">
              <a:rPr lang="en-US" smtClean="0"/>
              <a:t>May 23, 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7517" y="6449352"/>
            <a:ext cx="6369804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40073" y="6449352"/>
            <a:ext cx="524329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fld id="{BA72B151-4434-4606-98AB-039C983CD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79328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88" cy="158787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99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519" y="172252"/>
            <a:ext cx="6965007" cy="731689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27254" y="0"/>
            <a:ext cx="4359984" cy="6859588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99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38544" y="6500886"/>
            <a:ext cx="1134484" cy="13853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0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08107" y="6500259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50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5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0179" y="6455263"/>
            <a:ext cx="346422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519" y="6455263"/>
            <a:ext cx="6965007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0179" y="1182180"/>
            <a:ext cx="346422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519" y="1182180"/>
            <a:ext cx="6965007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519" y="884930"/>
            <a:ext cx="6965007" cy="277063"/>
          </a:xfrm>
        </p:spPr>
        <p:txBody>
          <a:bodyPr wrap="square">
            <a:noAutofit/>
          </a:bodyPr>
          <a:lstStyle>
            <a:lvl1pPr marL="0" indent="0" algn="l">
              <a:buNone/>
              <a:defRPr sz="1799" b="0">
                <a:solidFill>
                  <a:sysClr val="windowText" lastClr="000000"/>
                </a:solidFill>
              </a:defRPr>
            </a:lvl1pPr>
            <a:lvl2pPr marL="457017" indent="0" algn="ctr">
              <a:buNone/>
              <a:defRPr sz="1999"/>
            </a:lvl2pPr>
            <a:lvl3pPr marL="914034" indent="0" algn="ctr">
              <a:buNone/>
              <a:defRPr sz="1799"/>
            </a:lvl3pPr>
            <a:lvl4pPr marL="1371051" indent="0" algn="ctr">
              <a:buNone/>
              <a:defRPr sz="1599"/>
            </a:lvl4pPr>
            <a:lvl5pPr marL="1828068" indent="0" algn="ctr">
              <a:buNone/>
              <a:defRPr sz="1599"/>
            </a:lvl5pPr>
            <a:lvl6pPr marL="2285086" indent="0" algn="ctr">
              <a:buNone/>
              <a:defRPr sz="1599"/>
            </a:lvl6pPr>
            <a:lvl7pPr marL="2742103" indent="0" algn="ctr">
              <a:buNone/>
              <a:defRPr sz="1599"/>
            </a:lvl7pPr>
            <a:lvl8pPr marL="3199120" indent="0" algn="ctr">
              <a:buNone/>
              <a:defRPr sz="1599"/>
            </a:lvl8pPr>
            <a:lvl9pPr marL="3656137" indent="0" algn="ctr">
              <a:buNone/>
              <a:defRPr sz="1599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519" y="6503175"/>
            <a:ext cx="696500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8171543" y="89340"/>
            <a:ext cx="3464222" cy="123140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329487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519" y="6503175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0246804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Without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9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520" y="247995"/>
            <a:ext cx="11078199" cy="731689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520" y="1092896"/>
            <a:ext cx="11078199" cy="2770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799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518" y="41607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9CAB38E7-419E-4D7E-A754-1A7E68180C5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183805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99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0572" y="0"/>
            <a:ext cx="6096666" cy="6859588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99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38544" y="6500886"/>
            <a:ext cx="1134484" cy="13853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0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08107" y="6500259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50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5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0604" y="6455263"/>
            <a:ext cx="506379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520" y="6455263"/>
            <a:ext cx="506379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0604" y="1182180"/>
            <a:ext cx="506379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520" y="1182180"/>
            <a:ext cx="506379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520" y="1182180"/>
            <a:ext cx="506379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520" y="172252"/>
            <a:ext cx="5063797" cy="73168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520" y="884930"/>
            <a:ext cx="5063797" cy="27706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799" b="0">
                <a:solidFill>
                  <a:schemeClr val="tx1"/>
                </a:solidFill>
              </a:defRPr>
            </a:lvl1pPr>
            <a:lvl2pPr marL="457017" indent="0" algn="ctr">
              <a:buNone/>
              <a:defRPr sz="1999"/>
            </a:lvl2pPr>
            <a:lvl3pPr marL="914034" indent="0" algn="ctr">
              <a:buNone/>
              <a:defRPr sz="1799"/>
            </a:lvl3pPr>
            <a:lvl4pPr marL="1371051" indent="0" algn="ctr">
              <a:buNone/>
              <a:defRPr sz="1599"/>
            </a:lvl4pPr>
            <a:lvl5pPr marL="1828068" indent="0" algn="ctr">
              <a:buNone/>
              <a:defRPr sz="1599"/>
            </a:lvl5pPr>
            <a:lvl6pPr marL="2285086" indent="0" algn="ctr">
              <a:buNone/>
              <a:defRPr sz="1599"/>
            </a:lvl6pPr>
            <a:lvl7pPr marL="2742103" indent="0" algn="ctr">
              <a:buNone/>
              <a:defRPr sz="1599"/>
            </a:lvl7pPr>
            <a:lvl8pPr marL="3199120" indent="0" algn="ctr">
              <a:buNone/>
              <a:defRPr sz="1599"/>
            </a:lvl8pPr>
            <a:lvl9pPr marL="3656137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519" y="6503175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3909" y="89340"/>
            <a:ext cx="4478810" cy="123140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5627352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11621595" y="6567231"/>
            <a:ext cx="158636" cy="1570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0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102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2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449695" y="6535566"/>
            <a:ext cx="54502" cy="186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31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091475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99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520" y="172252"/>
            <a:ext cx="11078199" cy="73168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520" y="884930"/>
            <a:ext cx="11078199" cy="277063"/>
          </a:xfrm>
        </p:spPr>
        <p:txBody>
          <a:bodyPr wrap="square">
            <a:noAutofit/>
          </a:bodyPr>
          <a:lstStyle>
            <a:lvl1pPr marL="0" indent="0" algn="l">
              <a:buNone/>
              <a:defRPr sz="1799" b="0">
                <a:solidFill>
                  <a:schemeClr val="tx1"/>
                </a:solidFill>
              </a:defRPr>
            </a:lvl1pPr>
            <a:lvl2pPr marL="457017" indent="0" algn="ctr">
              <a:buNone/>
              <a:defRPr sz="1999"/>
            </a:lvl2pPr>
            <a:lvl3pPr marL="914034" indent="0" algn="ctr">
              <a:buNone/>
              <a:defRPr sz="1799"/>
            </a:lvl3pPr>
            <a:lvl4pPr marL="1371051" indent="0" algn="ctr">
              <a:buNone/>
              <a:defRPr sz="1599"/>
            </a:lvl4pPr>
            <a:lvl5pPr marL="1828068" indent="0" algn="ctr">
              <a:buNone/>
              <a:defRPr sz="1599"/>
            </a:lvl5pPr>
            <a:lvl6pPr marL="2285086" indent="0" algn="ctr">
              <a:buNone/>
              <a:defRPr sz="1599"/>
            </a:lvl6pPr>
            <a:lvl7pPr marL="2742103" indent="0" algn="ctr">
              <a:buNone/>
              <a:defRPr sz="1599"/>
            </a:lvl7pPr>
            <a:lvl8pPr marL="3199120" indent="0" algn="ctr">
              <a:buNone/>
              <a:defRPr sz="1599"/>
            </a:lvl8pPr>
            <a:lvl9pPr marL="3656137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08107" y="6500259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50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5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3909" y="89341"/>
            <a:ext cx="4478810" cy="123140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519" y="6503175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639420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4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562487" y="4416967"/>
            <a:ext cx="8236430" cy="738835"/>
          </a:xfrm>
        </p:spPr>
        <p:txBody>
          <a:bodyPr>
            <a:noAutofit/>
          </a:bodyPr>
          <a:lstStyle>
            <a:lvl1pPr>
              <a:defRPr sz="2400" b="0">
                <a:solidFill>
                  <a:srgbClr val="FC71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 in sentence case, (Arial, Regular, 24pt, Orang)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62487" y="5692143"/>
            <a:ext cx="8236430" cy="365845"/>
          </a:xfrm>
        </p:spPr>
        <p:txBody>
          <a:bodyPr anchor="ctr">
            <a:noAutofit/>
          </a:bodyPr>
          <a:lstStyle>
            <a:lvl1pPr marL="0" indent="0" algn="l" defTabSz="914308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2000" b="1" kern="1200" baseline="0" dirty="0" smtClean="0">
                <a:solidFill>
                  <a:srgbClr val="1C479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Date (Arial, Bold, 20pt, Blue)</a:t>
            </a:r>
          </a:p>
        </p:txBody>
      </p:sp>
      <p:sp>
        <p:nvSpPr>
          <p:cNvPr id="7" name="Title 12"/>
          <p:cNvSpPr>
            <a:spLocks noGrp="1"/>
          </p:cNvSpPr>
          <p:nvPr>
            <p:ph type="title" hasCustomPrompt="1"/>
          </p:nvPr>
        </p:nvSpPr>
        <p:spPr>
          <a:xfrm>
            <a:off x="562487" y="2544589"/>
            <a:ext cx="9595413" cy="1872377"/>
          </a:xfrm>
        </p:spPr>
        <p:txBody>
          <a:bodyPr anchor="t">
            <a:noAutofit/>
          </a:bodyPr>
          <a:lstStyle>
            <a:lvl1pPr algn="l">
              <a:defRPr kumimoji="0" lang="en-US" sz="4399" b="1" i="0" u="none" strike="noStrike" kern="1200" cap="none" spc="0" normalizeH="0" baseline="0" dirty="0">
                <a:ln>
                  <a:noFill/>
                </a:ln>
                <a:solidFill>
                  <a:srgbClr val="1C479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SEC Master and Style guide (Arial Headings, Bold 40pt, Blue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9879772" y="2327314"/>
            <a:ext cx="2310641" cy="4568245"/>
          </a:xfrm>
          <a:prstGeom prst="rect">
            <a:avLst/>
          </a:prstGeom>
        </p:spPr>
      </p:pic>
      <p:pic>
        <p:nvPicPr>
          <p:cNvPr id="10" name="Picture 9" descr="C:\Users\92679\Desktop\branding\company logo\SEC logo Horizontal\الشعار مع الهتاف الاعلاني1.jpe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3918" y="300238"/>
            <a:ext cx="2678305" cy="823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3677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489" y="1375156"/>
            <a:ext cx="11063738" cy="4618789"/>
          </a:xfrm>
        </p:spPr>
        <p:txBody>
          <a:bodyPr/>
          <a:lstStyle>
            <a:lvl1pPr>
              <a:defRPr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latin typeface="Roboto" panose="02000000000000000000" pitchFamily="2" charset="0"/>
                <a:ea typeface="Roboto" panose="02000000000000000000" pitchFamily="2" charset="0"/>
              </a:defRPr>
            </a:lvl2pPr>
            <a:lvl3pPr>
              <a:defRPr>
                <a:latin typeface="Roboto" panose="02000000000000000000" pitchFamily="2" charset="0"/>
                <a:ea typeface="Roboto" panose="02000000000000000000" pitchFamily="2" charset="0"/>
              </a:defRPr>
            </a:lvl3pPr>
            <a:lvl4pPr>
              <a:defRPr>
                <a:latin typeface="Roboto" panose="02000000000000000000" pitchFamily="2" charset="0"/>
                <a:ea typeface="Roboto" panose="02000000000000000000" pitchFamily="2" charset="0"/>
              </a:defRPr>
            </a:lvl4pPr>
            <a:lvl5pPr>
              <a:defRPr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ar-SA" dirty="0"/>
          </a:p>
        </p:txBody>
      </p:sp>
    </p:spTree>
    <p:extLst>
      <p:ext uri="{BB962C8B-B14F-4D97-AF65-F5344CB8AC3E}">
        <p14:creationId xmlns:p14="http://schemas.microsoft.com/office/powerpoint/2010/main" val="34753741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562488" y="975011"/>
            <a:ext cx="5742600" cy="1639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88" bIns="89988" rtlCol="0" anchor="ctr" anchorCtr="0"/>
          <a:lstStyle/>
          <a:p>
            <a:pPr algn="ctr"/>
            <a:endParaRPr lang="ar-SA" sz="1399" dirty="0">
              <a:solidFill>
                <a:schemeClr val="tx1"/>
              </a:solidFill>
            </a:endParaRPr>
          </a:p>
        </p:txBody>
      </p:sp>
      <p:sp>
        <p:nvSpPr>
          <p:cNvPr id="48" name="TextBox 47"/>
          <p:cNvSpPr txBox="1"/>
          <p:nvPr userDrawn="1"/>
        </p:nvSpPr>
        <p:spPr>
          <a:xfrm>
            <a:off x="1" y="2877122"/>
            <a:ext cx="12187238" cy="1105344"/>
          </a:xfrm>
          <a:prstGeom prst="rect">
            <a:avLst/>
          </a:prstGeom>
          <a:noFill/>
        </p:spPr>
        <p:txBody>
          <a:bodyPr wrap="square" tIns="89988" bIns="89988" rtlCol="1" anchor="t">
            <a:spAutoFit/>
          </a:bodyPr>
          <a:lstStyle/>
          <a:p>
            <a:pPr algn="ctr"/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C479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</a:t>
            </a:r>
            <a:endParaRPr lang="ar-SA" sz="6000" dirty="0"/>
          </a:p>
        </p:txBody>
      </p:sp>
    </p:spTree>
    <p:extLst>
      <p:ext uri="{BB962C8B-B14F-4D97-AF65-F5344CB8AC3E}">
        <p14:creationId xmlns:p14="http://schemas.microsoft.com/office/powerpoint/2010/main" val="6373422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562488" y="975011"/>
            <a:ext cx="5742600" cy="1639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88" bIns="89988" rtlCol="0" anchor="ctr" anchorCtr="0"/>
          <a:lstStyle/>
          <a:p>
            <a:pPr algn="ctr"/>
            <a:endParaRPr lang="ar-SA" sz="1399" dirty="0">
              <a:solidFill>
                <a:schemeClr val="tx1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02465" y="2771219"/>
            <a:ext cx="11485198" cy="1343336"/>
          </a:xfrm>
        </p:spPr>
        <p:txBody>
          <a:bodyPr/>
          <a:lstStyle/>
          <a:p>
            <a:pPr lvl="0"/>
            <a:r>
              <a:rPr lang="en-US" dirty="0"/>
              <a:t>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2351401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362" y="9018"/>
            <a:ext cx="10968514" cy="9001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24965" y="3201142"/>
            <a:ext cx="14523125" cy="9055609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  <a:lvl2pPr>
              <a:defRPr sz="28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351211" y="3201142"/>
            <a:ext cx="14525242" cy="9055609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  <a:lvl2pPr>
              <a:defRPr sz="28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136590" y="6449352"/>
            <a:ext cx="2843689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fld id="{563EDD0D-F234-470F-A1B9-25A6651E51FA}" type="datetime4">
              <a:rPr lang="en-US" smtClean="0"/>
              <a:t>May 23, 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87517" y="6449352"/>
            <a:ext cx="6369804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0073" y="6449352"/>
            <a:ext cx="524329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fld id="{BA72B151-4434-4606-98AB-039C983CD3F5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135201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562488" y="975011"/>
            <a:ext cx="5742600" cy="1639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88" bIns="89988" rtlCol="0" anchor="ctr" anchorCtr="0"/>
          <a:lstStyle/>
          <a:p>
            <a:pPr algn="ctr"/>
            <a:endParaRPr lang="ar-SA" sz="1399" dirty="0">
              <a:solidFill>
                <a:schemeClr val="tx1"/>
              </a:solidFill>
            </a:endParaRPr>
          </a:p>
        </p:txBody>
      </p:sp>
      <p:sp>
        <p:nvSpPr>
          <p:cNvPr id="48" name="TextBox 47"/>
          <p:cNvSpPr txBox="1"/>
          <p:nvPr userDrawn="1"/>
        </p:nvSpPr>
        <p:spPr>
          <a:xfrm>
            <a:off x="1" y="2877122"/>
            <a:ext cx="12187238" cy="1105344"/>
          </a:xfrm>
          <a:prstGeom prst="rect">
            <a:avLst/>
          </a:prstGeom>
          <a:noFill/>
        </p:spPr>
        <p:txBody>
          <a:bodyPr wrap="square" tIns="89988" bIns="89988" rtlCol="1" anchor="t">
            <a:spAutoFit/>
          </a:bodyPr>
          <a:lstStyle/>
          <a:p>
            <a:pPr algn="ctr"/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C479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ack Up</a:t>
            </a:r>
            <a:endParaRPr lang="ar-SA" sz="6000" dirty="0"/>
          </a:p>
        </p:txBody>
      </p:sp>
    </p:spTree>
    <p:extLst>
      <p:ext uri="{BB962C8B-B14F-4D97-AF65-F5344CB8AC3E}">
        <p14:creationId xmlns:p14="http://schemas.microsoft.com/office/powerpoint/2010/main" val="9246318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olu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 userDrawn="1"/>
        </p:nvSpPr>
        <p:spPr>
          <a:xfrm>
            <a:off x="562488" y="1125295"/>
            <a:ext cx="5544219" cy="468108"/>
          </a:xfrm>
          <a:prstGeom prst="rect">
            <a:avLst/>
          </a:prstGeom>
          <a:noFill/>
        </p:spPr>
        <p:txBody>
          <a:bodyPr vert="horz" lIns="0" tIns="45714" rIns="0" bIns="45714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b="1" kern="1200" noProof="0" dirty="0">
                <a:solidFill>
                  <a:srgbClr val="1C47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400" b="1" dirty="0">
                <a:solidFill>
                  <a:srgbClr val="000000"/>
                </a:solidFill>
              </a:rPr>
              <a:t>Draft Resolution:</a:t>
            </a: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6250512" y="1125295"/>
            <a:ext cx="5399297" cy="468108"/>
          </a:xfrm>
          <a:prstGeom prst="rect">
            <a:avLst/>
          </a:prstGeom>
          <a:noFill/>
        </p:spPr>
        <p:txBody>
          <a:bodyPr vert="horz" lIns="0" tIns="45714" rIns="0" bIns="45714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b="1" kern="1200" noProof="0" dirty="0">
                <a:solidFill>
                  <a:srgbClr val="1C47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r" rtl="1"/>
            <a:r>
              <a:rPr lang="ar-SA" sz="2400" b="1" baseline="0" dirty="0">
                <a:solidFill>
                  <a:srgbClr val="000000"/>
                </a:solidFill>
              </a:rPr>
              <a:t>مسودة القرار:</a:t>
            </a:r>
            <a:endParaRPr lang="en-US" sz="2400" b="1" dirty="0">
              <a:solidFill>
                <a:srgbClr val="000000"/>
              </a:solidFill>
            </a:endParaRP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489" y="1772044"/>
            <a:ext cx="5544219" cy="4618789"/>
          </a:xfrm>
        </p:spPr>
        <p:txBody>
          <a:bodyPr/>
          <a:lstStyle>
            <a:lvl1pPr marL="0" marR="0" indent="0" algn="l" defTabSz="91430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/>
            </a:lvl1pPr>
            <a:lvl2pPr marL="457154" marR="0" indent="-228578" algn="l" defTabSz="91430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000"/>
            </a:lvl2pPr>
            <a:lvl3pPr marL="914308" marR="0" indent="-228578" algn="l" defTabSz="91430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2000"/>
            </a:lvl3pPr>
            <a:lvl4pPr marL="1376225" marR="0" indent="-233339" algn="l" defTabSz="91430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000"/>
            </a:lvl4pPr>
            <a:lvl5pPr marL="2058782" marR="0" indent="-230165" algn="l" defTabSz="91430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2000"/>
            </a:lvl5pPr>
          </a:lstStyle>
          <a:p>
            <a:pPr marL="0" marR="0" lvl="0" indent="0" algn="l" defTabSz="91430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457154" marR="0" lvl="1" indent="-228578" algn="l" defTabSz="91430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914308" marR="0" lvl="2" indent="-228578" algn="l" defTabSz="91430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376225" marR="0" lvl="3" indent="-233339" algn="l" defTabSz="91430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2058782" marR="0" lvl="4" indent="-230165" algn="l" defTabSz="91430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14"/>
          </p:nvPr>
        </p:nvSpPr>
        <p:spPr>
          <a:xfrm>
            <a:off x="6184335" y="1772044"/>
            <a:ext cx="5465474" cy="4618789"/>
          </a:xfrm>
        </p:spPr>
        <p:txBody>
          <a:bodyPr/>
          <a:lstStyle>
            <a:lvl1pPr algn="r" rtl="1">
              <a:defRPr sz="2000" baseline="0"/>
            </a:lvl1pPr>
            <a:lvl2pPr algn="r" rtl="1">
              <a:defRPr/>
            </a:lvl2pPr>
            <a:lvl3pPr algn="r" rtl="1">
              <a:defRPr/>
            </a:lvl3pPr>
            <a:lvl4pPr algn="r" rtl="1">
              <a:defRPr/>
            </a:lvl4pPr>
            <a:lvl5pPr algn="r" rtl="1">
              <a:defRPr/>
            </a:lvl5pPr>
          </a:lstStyle>
          <a:p>
            <a:pPr lvl="0"/>
            <a:endParaRPr lang="ar-SA" dirty="0"/>
          </a:p>
        </p:txBody>
      </p:sp>
    </p:spTree>
    <p:extLst>
      <p:ext uri="{BB962C8B-B14F-4D97-AF65-F5344CB8AC3E}">
        <p14:creationId xmlns:p14="http://schemas.microsoft.com/office/powerpoint/2010/main" val="123531880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562488" y="975011"/>
            <a:ext cx="5742600" cy="1639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65" bIns="89965" rtlCol="0" anchor="ctr" anchorCtr="0"/>
          <a:lstStyle/>
          <a:p>
            <a:pPr algn="ctr"/>
            <a:endParaRPr lang="ar-SA" sz="1399" dirty="0">
              <a:solidFill>
                <a:schemeClr val="tx1"/>
              </a:solidFill>
            </a:endParaRPr>
          </a:p>
        </p:txBody>
      </p:sp>
      <p:sp>
        <p:nvSpPr>
          <p:cNvPr id="48" name="TextBox 47"/>
          <p:cNvSpPr txBox="1"/>
          <p:nvPr userDrawn="1"/>
        </p:nvSpPr>
        <p:spPr>
          <a:xfrm>
            <a:off x="1" y="2877122"/>
            <a:ext cx="12187238" cy="1105344"/>
          </a:xfrm>
          <a:prstGeom prst="rect">
            <a:avLst/>
          </a:prstGeom>
          <a:noFill/>
        </p:spPr>
        <p:txBody>
          <a:bodyPr wrap="square" tIns="89965" bIns="89965" rtlCol="1" anchor="t">
            <a:spAutoFit/>
          </a:bodyPr>
          <a:lstStyle/>
          <a:p>
            <a:pPr algn="ctr"/>
            <a:r>
              <a:rPr kumimoji="0" lang="en-US" sz="5998" b="1" i="0" u="none" strike="noStrike" kern="1200" cap="none" spc="0" normalizeH="0" baseline="0" noProof="0" dirty="0">
                <a:ln>
                  <a:noFill/>
                </a:ln>
                <a:solidFill>
                  <a:srgbClr val="1C479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ppendix </a:t>
            </a:r>
            <a:endParaRPr lang="ar-SA" sz="5998" dirty="0"/>
          </a:p>
        </p:txBody>
      </p:sp>
    </p:spTree>
    <p:extLst>
      <p:ext uri="{BB962C8B-B14F-4D97-AF65-F5344CB8AC3E}">
        <p14:creationId xmlns:p14="http://schemas.microsoft.com/office/powerpoint/2010/main" val="30969401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550003" y="0"/>
            <a:ext cx="2637235" cy="68939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562561" y="4415944"/>
            <a:ext cx="8237502" cy="7386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0">
                <a:solidFill>
                  <a:srgbClr val="FC71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 in sentence case, (Arial, Regular, 24pt, Orang)</a:t>
            </a: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62561" y="5690825"/>
            <a:ext cx="8237502" cy="36576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09505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2000" b="1" kern="1200" baseline="0" dirty="0" smtClean="0">
                <a:solidFill>
                  <a:srgbClr val="1C479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Date (Arial, Bold, 20pt, Blue)</a:t>
            </a:r>
          </a:p>
        </p:txBody>
      </p:sp>
      <p:sp>
        <p:nvSpPr>
          <p:cNvPr id="12" name="Title 12"/>
          <p:cNvSpPr>
            <a:spLocks noGrp="1"/>
          </p:cNvSpPr>
          <p:nvPr>
            <p:ph type="title" hasCustomPrompt="1"/>
          </p:nvPr>
        </p:nvSpPr>
        <p:spPr>
          <a:xfrm>
            <a:off x="562561" y="2544000"/>
            <a:ext cx="9596662" cy="187194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kumimoji="0" lang="en-US" sz="4400" b="1" i="0" u="none" strike="noStrike" kern="1200" cap="none" spc="0" normalizeH="0" baseline="0" dirty="0">
                <a:ln>
                  <a:noFill/>
                </a:ln>
                <a:solidFill>
                  <a:srgbClr val="1C479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SEC Master and Style guide (Arial Headings, Bold 40pt, Blue)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9869567" y="2326781"/>
            <a:ext cx="2310942" cy="4567187"/>
          </a:xfrm>
          <a:prstGeom prst="rect">
            <a:avLst/>
          </a:prstGeom>
        </p:spPr>
      </p:pic>
      <p:pic>
        <p:nvPicPr>
          <p:cNvPr id="14" name="Picture 13" descr="C:\Users\92679\Desktop\branding\company logo\SEC logo Horizontal\الشعار مع الهتاف الاعلاني1.jpeg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5114" y="300169"/>
            <a:ext cx="2678654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 userDrawn="1"/>
        </p:nvSpPr>
        <p:spPr>
          <a:xfrm>
            <a:off x="404987" y="909514"/>
            <a:ext cx="6264696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 userDrawn="1"/>
        </p:nvSpPr>
        <p:spPr>
          <a:xfrm>
            <a:off x="-10257" y="6238106"/>
            <a:ext cx="3943636" cy="621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8236599"/>
      </p:ext>
    </p:extLst>
  </p:cSld>
  <p:clrMapOvr>
    <a:masterClrMapping/>
  </p:clrMapOvr>
  <p:hf hdr="0" ft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39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37DF9659-1E95-4E88-9BB6-28288727D70A}"/>
              </a:ext>
            </a:extLst>
          </p:cNvPr>
          <p:cNvPicPr>
            <a:picLocks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26224" y="0"/>
            <a:ext cx="6761015" cy="6859588"/>
          </a:xfrm>
          <a:custGeom>
            <a:avLst/>
            <a:gdLst>
              <a:gd name="connsiteX0" fmla="*/ 0 w 6763657"/>
              <a:gd name="connsiteY0" fmla="*/ 0 h 6858000"/>
              <a:gd name="connsiteX1" fmla="*/ 6763657 w 6763657"/>
              <a:gd name="connsiteY1" fmla="*/ 0 h 6858000"/>
              <a:gd name="connsiteX2" fmla="*/ 6763657 w 6763657"/>
              <a:gd name="connsiteY2" fmla="*/ 5223881 h 6858000"/>
              <a:gd name="connsiteX3" fmla="*/ 5889593 w 6763657"/>
              <a:gd name="connsiteY3" fmla="*/ 6858000 h 6858000"/>
              <a:gd name="connsiteX4" fmla="*/ 0 w 676365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3657" h="6858000">
                <a:moveTo>
                  <a:pt x="0" y="0"/>
                </a:moveTo>
                <a:lnTo>
                  <a:pt x="6763657" y="0"/>
                </a:lnTo>
                <a:lnTo>
                  <a:pt x="6763657" y="5223881"/>
                </a:lnTo>
                <a:lnTo>
                  <a:pt x="588959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grpSp>
        <p:nvGrpSpPr>
          <p:cNvPr id="22" name="Group 23">
            <a:extLst>
              <a:ext uri="{FF2B5EF4-FFF2-40B4-BE49-F238E27FC236}">
                <a16:creationId xmlns:a16="http://schemas.microsoft.com/office/drawing/2014/main" id="{64E74A37-EF0C-49A6-A86D-23F1DABC8540}"/>
              </a:ext>
            </a:extLst>
          </p:cNvPr>
          <p:cNvGrpSpPr/>
          <p:nvPr userDrawn="1"/>
        </p:nvGrpSpPr>
        <p:grpSpPr bwMode="ltGray">
          <a:xfrm>
            <a:off x="1" y="2"/>
            <a:ext cx="8348700" cy="6859588"/>
            <a:chOff x="1" y="2"/>
            <a:chExt cx="8351962" cy="6858000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25CD201-9C2C-4C45-A7A6-B680BF88C459}"/>
                </a:ext>
              </a:extLst>
            </p:cNvPr>
            <p:cNvGrpSpPr/>
            <p:nvPr/>
          </p:nvGrpSpPr>
          <p:grpSpPr bwMode="ltGray">
            <a:xfrm>
              <a:off x="1" y="2"/>
              <a:ext cx="8348910" cy="6858000"/>
              <a:chOff x="1" y="2"/>
              <a:chExt cx="8348910" cy="6858000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C509B44-96C3-4909-8675-5D394244FA8E}"/>
                  </a:ext>
                </a:extLst>
              </p:cNvPr>
              <p:cNvSpPr/>
              <p:nvPr/>
            </p:nvSpPr>
            <p:spPr bwMode="ltGray">
              <a:xfrm>
                <a:off x="1" y="3"/>
                <a:ext cx="8253661" cy="6857999"/>
              </a:xfrm>
              <a:custGeom>
                <a:avLst/>
                <a:gdLst>
                  <a:gd name="connsiteX0" fmla="*/ 0 w 8253661"/>
                  <a:gd name="connsiteY0" fmla="*/ 0 h 6857999"/>
                  <a:gd name="connsiteX1" fmla="*/ 8221010 w 8253661"/>
                  <a:gd name="connsiteY1" fmla="*/ 0 h 6857999"/>
                  <a:gd name="connsiteX2" fmla="*/ 8242971 w 8253661"/>
                  <a:gd name="connsiteY2" fmla="*/ 288807 h 6857999"/>
                  <a:gd name="connsiteX3" fmla="*/ 8253661 w 8253661"/>
                  <a:gd name="connsiteY3" fmla="*/ 711578 h 6857999"/>
                  <a:gd name="connsiteX4" fmla="*/ 7995013 w 8253661"/>
                  <a:gd name="connsiteY4" fmla="*/ 2764776 h 6857999"/>
                  <a:gd name="connsiteX5" fmla="*/ 7913443 w 8253661"/>
                  <a:gd name="connsiteY5" fmla="*/ 3052029 h 6857999"/>
                  <a:gd name="connsiteX6" fmla="*/ 7850393 w 8253661"/>
                  <a:gd name="connsiteY6" fmla="*/ 3238367 h 6857999"/>
                  <a:gd name="connsiteX7" fmla="*/ 5378206 w 8253661"/>
                  <a:gd name="connsiteY7" fmla="*/ 6737384 h 6857999"/>
                  <a:gd name="connsiteX8" fmla="*/ 5227293 w 8253661"/>
                  <a:gd name="connsiteY8" fmla="*/ 6857999 h 6857999"/>
                  <a:gd name="connsiteX9" fmla="*/ 0 w 8253661"/>
                  <a:gd name="connsiteY9" fmla="*/ 6857999 h 6857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253661" h="6857999">
                    <a:moveTo>
                      <a:pt x="0" y="0"/>
                    </a:moveTo>
                    <a:lnTo>
                      <a:pt x="8221010" y="0"/>
                    </a:lnTo>
                    <a:lnTo>
                      <a:pt x="8242971" y="288807"/>
                    </a:lnTo>
                    <a:cubicBezTo>
                      <a:pt x="8250069" y="428835"/>
                      <a:pt x="8253661" y="569787"/>
                      <a:pt x="8253661" y="711578"/>
                    </a:cubicBezTo>
                    <a:cubicBezTo>
                      <a:pt x="8253661" y="1420536"/>
                      <a:pt x="8163861" y="2108521"/>
                      <a:pt x="7995013" y="2764776"/>
                    </a:cubicBezTo>
                    <a:lnTo>
                      <a:pt x="7913443" y="3052029"/>
                    </a:lnTo>
                    <a:lnTo>
                      <a:pt x="7850393" y="3238367"/>
                    </a:lnTo>
                    <a:cubicBezTo>
                      <a:pt x="7346473" y="4614638"/>
                      <a:pt x="6484888" y="5818500"/>
                      <a:pt x="5378206" y="6737384"/>
                    </a:cubicBezTo>
                    <a:lnTo>
                      <a:pt x="5227293" y="6857999"/>
                    </a:lnTo>
                    <a:lnTo>
                      <a:pt x="0" y="6857999"/>
                    </a:lnTo>
                    <a:close/>
                  </a:path>
                </a:pathLst>
              </a:custGeom>
              <a:solidFill>
                <a:srgbClr val="0038A5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598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41D78A2B-9C6D-4F47-ACC7-B8A7970FB042}"/>
                  </a:ext>
                </a:extLst>
              </p:cNvPr>
              <p:cNvGrpSpPr/>
              <p:nvPr/>
            </p:nvGrpSpPr>
            <p:grpSpPr bwMode="ltGray">
              <a:xfrm>
                <a:off x="5227293" y="2"/>
                <a:ext cx="3121618" cy="6857999"/>
                <a:chOff x="5227293" y="2"/>
                <a:chExt cx="3121618" cy="6857999"/>
              </a:xfrm>
            </p:grpSpPr>
            <p:sp>
              <p:nvSpPr>
                <p:cNvPr id="36" name="Freeform: Shape 35">
                  <a:extLst>
                    <a:ext uri="{FF2B5EF4-FFF2-40B4-BE49-F238E27FC236}">
                      <a16:creationId xmlns:a16="http://schemas.microsoft.com/office/drawing/2014/main" id="{788025A8-673F-4C37-BB0F-C1BD7FB8EE84}"/>
                    </a:ext>
                  </a:extLst>
                </p:cNvPr>
                <p:cNvSpPr/>
                <p:nvPr/>
              </p:nvSpPr>
              <p:spPr bwMode="ltGray">
                <a:xfrm>
                  <a:off x="7913443" y="2"/>
                  <a:ext cx="435468" cy="3052029"/>
                </a:xfrm>
                <a:custGeom>
                  <a:avLst/>
                  <a:gdLst>
                    <a:gd name="connsiteX0" fmla="*/ 307567 w 435468"/>
                    <a:gd name="connsiteY0" fmla="*/ 0 h 3052029"/>
                    <a:gd name="connsiteX1" fmla="*/ 425011 w 435468"/>
                    <a:gd name="connsiteY1" fmla="*/ 0 h 3052029"/>
                    <a:gd name="connsiteX2" fmla="*/ 435468 w 435468"/>
                    <a:gd name="connsiteY2" fmla="*/ 413581 h 3052029"/>
                    <a:gd name="connsiteX3" fmla="*/ 66113 w 435468"/>
                    <a:gd name="connsiteY3" fmla="*/ 2856638 h 3052029"/>
                    <a:gd name="connsiteX4" fmla="*/ 0 w 435468"/>
                    <a:gd name="connsiteY4" fmla="*/ 3052029 h 3052029"/>
                    <a:gd name="connsiteX5" fmla="*/ 81570 w 435468"/>
                    <a:gd name="connsiteY5" fmla="*/ 2764776 h 3052029"/>
                    <a:gd name="connsiteX6" fmla="*/ 340218 w 435468"/>
                    <a:gd name="connsiteY6" fmla="*/ 711579 h 3052029"/>
                    <a:gd name="connsiteX7" fmla="*/ 329528 w 435468"/>
                    <a:gd name="connsiteY7" fmla="*/ 288807 h 30520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35468" h="3052029">
                      <a:moveTo>
                        <a:pt x="307567" y="0"/>
                      </a:moveTo>
                      <a:lnTo>
                        <a:pt x="425011" y="0"/>
                      </a:lnTo>
                      <a:lnTo>
                        <a:pt x="435468" y="413581"/>
                      </a:lnTo>
                      <a:cubicBezTo>
                        <a:pt x="435468" y="1264330"/>
                        <a:pt x="306155" y="2084877"/>
                        <a:pt x="66113" y="2856638"/>
                      </a:cubicBezTo>
                      <a:lnTo>
                        <a:pt x="0" y="3052029"/>
                      </a:lnTo>
                      <a:lnTo>
                        <a:pt x="81570" y="2764776"/>
                      </a:lnTo>
                      <a:cubicBezTo>
                        <a:pt x="250418" y="2108521"/>
                        <a:pt x="340218" y="1420537"/>
                        <a:pt x="340218" y="711579"/>
                      </a:cubicBezTo>
                      <a:cubicBezTo>
                        <a:pt x="340218" y="569787"/>
                        <a:pt x="336626" y="428835"/>
                        <a:pt x="329528" y="288807"/>
                      </a:cubicBezTo>
                      <a:close/>
                    </a:path>
                  </a:pathLst>
                </a:custGeom>
                <a:solidFill>
                  <a:srgbClr val="0038A5"/>
                </a:solidFill>
                <a:ln w="6350" cap="sq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en-US" sz="1598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7" name="Freeform: Shape 36">
                  <a:extLst>
                    <a:ext uri="{FF2B5EF4-FFF2-40B4-BE49-F238E27FC236}">
                      <a16:creationId xmlns:a16="http://schemas.microsoft.com/office/drawing/2014/main" id="{27D28533-067F-4999-8400-9548B0B90D6E}"/>
                    </a:ext>
                  </a:extLst>
                </p:cNvPr>
                <p:cNvSpPr/>
                <p:nvPr/>
              </p:nvSpPr>
              <p:spPr bwMode="ltGray">
                <a:xfrm>
                  <a:off x="5227293" y="3052032"/>
                  <a:ext cx="2686150" cy="3805969"/>
                </a:xfrm>
                <a:custGeom>
                  <a:avLst/>
                  <a:gdLst>
                    <a:gd name="connsiteX0" fmla="*/ 2686150 w 2686150"/>
                    <a:gd name="connsiteY0" fmla="*/ 0 h 3805969"/>
                    <a:gd name="connsiteX1" fmla="*/ 2657013 w 2686150"/>
                    <a:gd name="connsiteY1" fmla="*/ 102607 h 3805969"/>
                    <a:gd name="connsiteX2" fmla="*/ 461196 w 2686150"/>
                    <a:gd name="connsiteY2" fmla="*/ 3623514 h 3805969"/>
                    <a:gd name="connsiteX3" fmla="*/ 261049 w 2686150"/>
                    <a:gd name="connsiteY3" fmla="*/ 3805969 h 3805969"/>
                    <a:gd name="connsiteX4" fmla="*/ 0 w 2686150"/>
                    <a:gd name="connsiteY4" fmla="*/ 3805969 h 3805969"/>
                    <a:gd name="connsiteX5" fmla="*/ 150913 w 2686150"/>
                    <a:gd name="connsiteY5" fmla="*/ 3685354 h 3805969"/>
                    <a:gd name="connsiteX6" fmla="*/ 2623100 w 2686150"/>
                    <a:gd name="connsiteY6" fmla="*/ 186338 h 38059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686150" h="3805969">
                      <a:moveTo>
                        <a:pt x="2686150" y="0"/>
                      </a:moveTo>
                      <a:lnTo>
                        <a:pt x="2657013" y="102607"/>
                      </a:lnTo>
                      <a:cubicBezTo>
                        <a:pt x="2234439" y="1461227"/>
                        <a:pt x="1468705" y="2668657"/>
                        <a:pt x="461196" y="3623514"/>
                      </a:cubicBezTo>
                      <a:lnTo>
                        <a:pt x="261049" y="3805969"/>
                      </a:lnTo>
                      <a:lnTo>
                        <a:pt x="0" y="3805969"/>
                      </a:lnTo>
                      <a:lnTo>
                        <a:pt x="150913" y="3685354"/>
                      </a:lnTo>
                      <a:cubicBezTo>
                        <a:pt x="1257595" y="2766470"/>
                        <a:pt x="2119180" y="1562609"/>
                        <a:pt x="2623100" y="186338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6350" cap="sq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en-US" sz="1598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4F99563-D57A-466B-A511-C9E45BFAB875}"/>
                </a:ext>
              </a:extLst>
            </p:cNvPr>
            <p:cNvSpPr/>
            <p:nvPr/>
          </p:nvSpPr>
          <p:spPr bwMode="ltGray">
            <a:xfrm>
              <a:off x="2" y="2"/>
              <a:ext cx="8351961" cy="6857999"/>
            </a:xfrm>
            <a:custGeom>
              <a:avLst/>
              <a:gdLst>
                <a:gd name="connsiteX0" fmla="*/ 0 w 8351961"/>
                <a:gd name="connsiteY0" fmla="*/ 0 h 6857999"/>
                <a:gd name="connsiteX1" fmla="*/ 8347511 w 8351961"/>
                <a:gd name="connsiteY1" fmla="*/ 0 h 6857999"/>
                <a:gd name="connsiteX2" fmla="*/ 8351961 w 8351961"/>
                <a:gd name="connsiteY2" fmla="*/ 176000 h 6857999"/>
                <a:gd name="connsiteX3" fmla="*/ 5051902 w 8351961"/>
                <a:gd name="connsiteY3" fmla="*/ 6759420 h 6857999"/>
                <a:gd name="connsiteX4" fmla="*/ 4913276 w 8351961"/>
                <a:gd name="connsiteY4" fmla="*/ 6857999 h 6857999"/>
                <a:gd name="connsiteX5" fmla="*/ 0 w 8351961"/>
                <a:gd name="connsiteY5" fmla="*/ 6857999 h 6857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51961" h="6857999">
                  <a:moveTo>
                    <a:pt x="0" y="0"/>
                  </a:moveTo>
                  <a:lnTo>
                    <a:pt x="8347511" y="0"/>
                  </a:lnTo>
                  <a:lnTo>
                    <a:pt x="8351961" y="176000"/>
                  </a:lnTo>
                  <a:cubicBezTo>
                    <a:pt x="8351961" y="2870039"/>
                    <a:pt x="7055241" y="5261213"/>
                    <a:pt x="5051902" y="6759420"/>
                  </a:cubicBezTo>
                  <a:lnTo>
                    <a:pt x="4913276" y="6857999"/>
                  </a:lnTo>
                  <a:lnTo>
                    <a:pt x="0" y="6857999"/>
                  </a:lnTo>
                  <a:close/>
                </a:path>
              </a:pathLst>
            </a:cu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598" dirty="0">
                <a:solidFill>
                  <a:schemeClr val="bg1"/>
                </a:solidFill>
              </a:endParaRPr>
            </a:p>
          </p:txBody>
        </p:sp>
      </p:grpSp>
      <p:pic>
        <p:nvPicPr>
          <p:cNvPr id="38" name="Picture 30">
            <a:extLst>
              <a:ext uri="{FF2B5EF4-FFF2-40B4-BE49-F238E27FC236}">
                <a16:creationId xmlns:a16="http://schemas.microsoft.com/office/drawing/2014/main" id="{5BF6018E-EBDD-432A-B1A5-A51D23B4C61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 rot="10800000" flipH="1" flipV="1">
            <a:off x="11002593" y="4511214"/>
            <a:ext cx="1187819" cy="2348374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1727" y="5330542"/>
            <a:ext cx="5644594" cy="21549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398" dirty="0">
                <a:solidFill>
                  <a:schemeClr val="accent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727" y="4039147"/>
            <a:ext cx="5644594" cy="3078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998" dirty="0">
                <a:solidFill>
                  <a:schemeClr val="accent5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727" y="1701066"/>
            <a:ext cx="5644594" cy="13545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395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9" name="Picture 31" descr="C:\Users\92679\Desktop\branding\company logo\SEC logo Horizontal\الشعار مع الهتاف الاعلاني1.jpeg.png">
            <a:extLst>
              <a:ext uri="{FF2B5EF4-FFF2-40B4-BE49-F238E27FC236}">
                <a16:creationId xmlns:a16="http://schemas.microsoft.com/office/drawing/2014/main" id="{20141EF4-62EB-425E-827D-D777424404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550585" y="703113"/>
            <a:ext cx="2678305" cy="823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251737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8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520" y="247996"/>
            <a:ext cx="11078199" cy="731689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520" y="1092897"/>
            <a:ext cx="11078199" cy="2770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798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518" y="41608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9CAB38E7-419E-4D7E-A754-1A7E68180C5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BA740D4-C432-4AAA-B85C-A075A266B8FD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930934" y="6555450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13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1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23345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8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519" y="1706958"/>
            <a:ext cx="3811559" cy="69510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08108" y="6500260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13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1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518" y="41608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B2F8C2E7-5D79-4D33-BD70-8D1E5D686AFA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930934" y="6555450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13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1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87971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8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521" y="3044987"/>
            <a:ext cx="5063797" cy="769619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08108" y="6500260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13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1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518" y="41608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2DEB82E6-56A0-4C53-9A3E-351B71E9794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930934" y="6555450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13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1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244572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39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520" y="4581530"/>
            <a:ext cx="11078199" cy="677265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395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08108" y="6500260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13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1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518" y="41608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D88ED45-7E07-4163-8438-A4BA7F89E634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930934" y="6555450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13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1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692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397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124" y="3569240"/>
            <a:ext cx="9176990" cy="51115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397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124" y="4285624"/>
            <a:ext cx="9176990" cy="27706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798" b="0">
                <a:solidFill>
                  <a:schemeClr val="tx1"/>
                </a:solidFill>
              </a:defRPr>
            </a:lvl1pPr>
            <a:lvl2pPr marL="456743" indent="0" algn="ctr">
              <a:buNone/>
              <a:defRPr sz="1998"/>
            </a:lvl2pPr>
            <a:lvl3pPr marL="913485" indent="0" algn="ctr">
              <a:buNone/>
              <a:defRPr sz="1798"/>
            </a:lvl3pPr>
            <a:lvl4pPr marL="1370229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5" indent="0" algn="ctr">
              <a:buNone/>
              <a:defRPr sz="1598"/>
            </a:lvl6pPr>
            <a:lvl7pPr marL="2740458" indent="0" algn="ctr">
              <a:buNone/>
              <a:defRPr sz="1598"/>
            </a:lvl7pPr>
            <a:lvl8pPr marL="3197201" indent="0" algn="ctr">
              <a:buNone/>
              <a:defRPr sz="1598"/>
            </a:lvl8pPr>
            <a:lvl9pPr marL="3653944" indent="0" algn="ctr">
              <a:buNone/>
              <a:defRPr sz="1598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08108" y="6500260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13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1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518" y="41608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69E7B29-74F8-41D2-94C0-C38BD4BDDED3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930934" y="6555450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13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1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3260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362" y="1535469"/>
            <a:ext cx="5384813" cy="63991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800" b="1"/>
            </a:lvl1pPr>
            <a:lvl2pPr marL="544102" indent="0">
              <a:buNone/>
              <a:defRPr sz="2400" b="1"/>
            </a:lvl2pPr>
            <a:lvl3pPr marL="1088204" indent="0">
              <a:buNone/>
              <a:defRPr sz="2100" b="1"/>
            </a:lvl3pPr>
            <a:lvl4pPr marL="1632305" indent="0">
              <a:buNone/>
              <a:defRPr sz="1900" b="1"/>
            </a:lvl4pPr>
            <a:lvl5pPr marL="2176407" indent="0">
              <a:buNone/>
              <a:defRPr sz="1900" b="1"/>
            </a:lvl5pPr>
            <a:lvl6pPr marL="2720509" indent="0">
              <a:buNone/>
              <a:defRPr sz="1900" b="1"/>
            </a:lvl6pPr>
            <a:lvl7pPr marL="3264611" indent="0">
              <a:buNone/>
              <a:defRPr sz="1900" b="1"/>
            </a:lvl7pPr>
            <a:lvl8pPr marL="3808712" indent="0">
              <a:buNone/>
              <a:defRPr sz="1900" b="1"/>
            </a:lvl8pPr>
            <a:lvl9pPr marL="4352814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362" y="2175379"/>
            <a:ext cx="5384813" cy="395220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0948" y="1535469"/>
            <a:ext cx="5386929" cy="63991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800" b="1"/>
            </a:lvl1pPr>
            <a:lvl2pPr marL="544102" indent="0">
              <a:buNone/>
              <a:defRPr sz="2400" b="1"/>
            </a:lvl2pPr>
            <a:lvl3pPr marL="1088204" indent="0">
              <a:buNone/>
              <a:defRPr sz="2100" b="1"/>
            </a:lvl3pPr>
            <a:lvl4pPr marL="1632305" indent="0">
              <a:buNone/>
              <a:defRPr sz="1900" b="1"/>
            </a:lvl4pPr>
            <a:lvl5pPr marL="2176407" indent="0">
              <a:buNone/>
              <a:defRPr sz="1900" b="1"/>
            </a:lvl5pPr>
            <a:lvl6pPr marL="2720509" indent="0">
              <a:buNone/>
              <a:defRPr sz="1900" b="1"/>
            </a:lvl6pPr>
            <a:lvl7pPr marL="3264611" indent="0">
              <a:buNone/>
              <a:defRPr sz="1900" b="1"/>
            </a:lvl7pPr>
            <a:lvl8pPr marL="3808712" indent="0">
              <a:buNone/>
              <a:defRPr sz="1900" b="1"/>
            </a:lvl8pPr>
            <a:lvl9pPr marL="4352814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0948" y="2175379"/>
            <a:ext cx="5386929" cy="395220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7136590" y="6449352"/>
            <a:ext cx="2843689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fld id="{9E1FEBF6-485D-4523-90A5-CA7B6018DA1F}" type="datetime4">
              <a:rPr lang="en-US" smtClean="0"/>
              <a:t>May 23, 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87517" y="6449352"/>
            <a:ext cx="6369804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0073" y="6449352"/>
            <a:ext cx="524329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fld id="{BA72B151-4434-4606-98AB-039C983CD3F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09362" y="9018"/>
            <a:ext cx="10968514" cy="9001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364622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8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2428" y="0"/>
            <a:ext cx="8774811" cy="68595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7" tIns="45673" rIns="91347" bIns="4567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9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519" y="2745006"/>
            <a:ext cx="2513618" cy="769619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519" y="3660492"/>
            <a:ext cx="2513618" cy="55412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798" b="0">
                <a:solidFill>
                  <a:schemeClr val="tx1"/>
                </a:solidFill>
              </a:defRPr>
            </a:lvl1pPr>
            <a:lvl2pPr marL="456721" indent="0" algn="ctr">
              <a:buNone/>
              <a:defRPr sz="1998"/>
            </a:lvl2pPr>
            <a:lvl3pPr marL="913439" indent="0" algn="ctr">
              <a:buNone/>
              <a:defRPr sz="1798"/>
            </a:lvl3pPr>
            <a:lvl4pPr marL="1370161" indent="0" algn="ctr">
              <a:buNone/>
              <a:defRPr sz="1598"/>
            </a:lvl4pPr>
            <a:lvl5pPr marL="1826881" indent="0" algn="ctr">
              <a:buNone/>
              <a:defRPr sz="1598"/>
            </a:lvl5pPr>
            <a:lvl6pPr marL="2283601" indent="0" algn="ctr">
              <a:buNone/>
              <a:defRPr sz="1598"/>
            </a:lvl6pPr>
            <a:lvl7pPr marL="2740320" indent="0" algn="ctr">
              <a:buNone/>
              <a:defRPr sz="1598"/>
            </a:lvl7pPr>
            <a:lvl8pPr marL="3197041" indent="0" algn="ctr">
              <a:buNone/>
              <a:defRPr sz="1598"/>
            </a:lvl8pPr>
            <a:lvl9pPr marL="3653762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520" y="41608"/>
            <a:ext cx="2513619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9">
            <a:extLst>
              <a:ext uri="{FF2B5EF4-FFF2-40B4-BE49-F238E27FC236}">
                <a16:creationId xmlns:a16="http://schemas.microsoft.com/office/drawing/2014/main" id="{C1998D87-1338-4490-9FCC-B32CB285E0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80007" y="5321400"/>
            <a:ext cx="1027322" cy="1554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12" descr="C:\Users\92679\Desktop\branding\company logo\SEC logo Horizontal\الشعار مع الهتاف الاعلاني1.jpeg.png">
            <a:extLst>
              <a:ext uri="{FF2B5EF4-FFF2-40B4-BE49-F238E27FC236}">
                <a16:creationId xmlns:a16="http://schemas.microsoft.com/office/drawing/2014/main" id="{ADA303AC-67D1-4119-B136-468E534973E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151" y="6472119"/>
            <a:ext cx="1171612" cy="36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493763E7-3443-4AA7-9524-3D625AEA1C8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930934" y="6555450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13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1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740102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8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3031" y="0"/>
            <a:ext cx="7824207" cy="68595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7" tIns="45673" rIns="91347" bIns="4567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209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520" y="2745006"/>
            <a:ext cx="3464222" cy="769619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520" y="3660493"/>
            <a:ext cx="3464221" cy="27706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798" b="0">
                <a:solidFill>
                  <a:schemeClr val="tx1"/>
                </a:solidFill>
              </a:defRPr>
            </a:lvl1pPr>
            <a:lvl2pPr marL="456721" indent="0" algn="ctr">
              <a:buNone/>
              <a:defRPr sz="1998"/>
            </a:lvl2pPr>
            <a:lvl3pPr marL="913439" indent="0" algn="ctr">
              <a:buNone/>
              <a:defRPr sz="1798"/>
            </a:lvl3pPr>
            <a:lvl4pPr marL="1370161" indent="0" algn="ctr">
              <a:buNone/>
              <a:defRPr sz="1598"/>
            </a:lvl4pPr>
            <a:lvl5pPr marL="1826881" indent="0" algn="ctr">
              <a:buNone/>
              <a:defRPr sz="1598"/>
            </a:lvl5pPr>
            <a:lvl6pPr marL="2283601" indent="0" algn="ctr">
              <a:buNone/>
              <a:defRPr sz="1598"/>
            </a:lvl6pPr>
            <a:lvl7pPr marL="2740320" indent="0" algn="ctr">
              <a:buNone/>
              <a:defRPr sz="1598"/>
            </a:lvl7pPr>
            <a:lvl8pPr marL="3197041" indent="0" algn="ctr">
              <a:buNone/>
              <a:defRPr sz="1598"/>
            </a:lvl8pPr>
            <a:lvl9pPr marL="3653762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520" y="41608"/>
            <a:ext cx="3464223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9">
            <a:extLst>
              <a:ext uri="{FF2B5EF4-FFF2-40B4-BE49-F238E27FC236}">
                <a16:creationId xmlns:a16="http://schemas.microsoft.com/office/drawing/2014/main" id="{CAEE59A7-28EF-405C-81C4-4A4BAD41D4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80007" y="5321400"/>
            <a:ext cx="1027322" cy="1554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12" descr="C:\Users\92679\Desktop\branding\company logo\SEC logo Horizontal\الشعار مع الهتاف الاعلاني1.jpeg.png">
            <a:extLst>
              <a:ext uri="{FF2B5EF4-FFF2-40B4-BE49-F238E27FC236}">
                <a16:creationId xmlns:a16="http://schemas.microsoft.com/office/drawing/2014/main" id="{DE49B646-32D7-4BC4-BFE4-334EC582AF3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151" y="6472119"/>
            <a:ext cx="1171612" cy="36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1E88BD44-5111-41DF-98E9-60288842D45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930934" y="6555450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13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1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84779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8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0572" y="0"/>
            <a:ext cx="6096666" cy="68595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7" tIns="45673" rIns="91347" bIns="4567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209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521" y="247996"/>
            <a:ext cx="5063797" cy="73168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521" y="1092897"/>
            <a:ext cx="5063797" cy="27706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798" b="0">
                <a:solidFill>
                  <a:schemeClr val="tx1"/>
                </a:solidFill>
              </a:defRPr>
            </a:lvl1pPr>
            <a:lvl2pPr marL="456743" indent="0" algn="ctr">
              <a:buNone/>
              <a:defRPr sz="1998"/>
            </a:lvl2pPr>
            <a:lvl3pPr marL="913485" indent="0" algn="ctr">
              <a:buNone/>
              <a:defRPr sz="1798"/>
            </a:lvl3pPr>
            <a:lvl4pPr marL="1370229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5" indent="0" algn="ctr">
              <a:buNone/>
              <a:defRPr sz="1598"/>
            </a:lvl6pPr>
            <a:lvl7pPr marL="2740458" indent="0" algn="ctr">
              <a:buNone/>
              <a:defRPr sz="1598"/>
            </a:lvl7pPr>
            <a:lvl8pPr marL="3197201" indent="0" algn="ctr">
              <a:buNone/>
              <a:defRPr sz="1598"/>
            </a:lvl8pPr>
            <a:lvl9pPr marL="3653944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518" y="41608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FBC890D2-F46E-4B95-A50F-2ADC39F104EA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930934" y="6555450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13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1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Picture 11" descr="C:\Users\92679\Desktop\branding\company logo\SEC logo Horizontal\الشعار مع الهتاف الاعلاني1.jpeg.png">
            <a:extLst>
              <a:ext uri="{FF2B5EF4-FFF2-40B4-BE49-F238E27FC236}">
                <a16:creationId xmlns:a16="http://schemas.microsoft.com/office/drawing/2014/main" id="{2289DB63-5021-445C-BCD2-6A9BDFE0F3D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151" y="6472119"/>
            <a:ext cx="1171612" cy="36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061332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8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519" y="247996"/>
            <a:ext cx="6965007" cy="73168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27254" y="0"/>
            <a:ext cx="4359984" cy="68595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7" tIns="45673" rIns="91347" bIns="4567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209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519" y="1092897"/>
            <a:ext cx="6965007" cy="27706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798" b="0">
                <a:solidFill>
                  <a:schemeClr val="tx1"/>
                </a:solidFill>
              </a:defRPr>
            </a:lvl1pPr>
            <a:lvl2pPr marL="456743" indent="0" algn="ctr">
              <a:buNone/>
              <a:defRPr sz="1998"/>
            </a:lvl2pPr>
            <a:lvl3pPr marL="913485" indent="0" algn="ctr">
              <a:buNone/>
              <a:defRPr sz="1798"/>
            </a:lvl3pPr>
            <a:lvl4pPr marL="1370229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5" indent="0" algn="ctr">
              <a:buNone/>
              <a:defRPr sz="1598"/>
            </a:lvl6pPr>
            <a:lvl7pPr marL="2740458" indent="0" algn="ctr">
              <a:buNone/>
              <a:defRPr sz="1598"/>
            </a:lvl7pPr>
            <a:lvl8pPr marL="3197201" indent="0" algn="ctr">
              <a:buNone/>
              <a:defRPr sz="1598"/>
            </a:lvl8pPr>
            <a:lvl9pPr marL="3653944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520" y="6284334"/>
            <a:ext cx="696500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518" y="41608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9">
            <a:extLst>
              <a:ext uri="{FF2B5EF4-FFF2-40B4-BE49-F238E27FC236}">
                <a16:creationId xmlns:a16="http://schemas.microsoft.com/office/drawing/2014/main" id="{C6CD111C-02A0-4426-80A3-EE5245A363C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80007" y="5321400"/>
            <a:ext cx="1027322" cy="1554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12" descr="C:\Users\92679\Desktop\branding\company logo\SEC logo Horizontal\الشعار مع الهتاف الاعلاني1.jpeg.png">
            <a:extLst>
              <a:ext uri="{FF2B5EF4-FFF2-40B4-BE49-F238E27FC236}">
                <a16:creationId xmlns:a16="http://schemas.microsoft.com/office/drawing/2014/main" id="{DE94DBAE-3568-4F07-9697-5255FAC1348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151" y="6472119"/>
            <a:ext cx="1171612" cy="36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11C7A490-F1C7-40D3-922B-81A059D9535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930934" y="6555450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13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1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5E892A2-038A-42AD-93DE-4D9BEAE69248}"/>
              </a:ext>
            </a:extLst>
          </p:cNvPr>
          <p:cNvCxnSpPr/>
          <p:nvPr userDrawn="1"/>
        </p:nvCxnSpPr>
        <p:spPr>
          <a:xfrm flipV="1">
            <a:off x="564102" y="1024129"/>
            <a:ext cx="5751466" cy="16939"/>
          </a:xfrm>
          <a:prstGeom prst="line">
            <a:avLst/>
          </a:prstGeom>
          <a:noFill/>
          <a:ln w="38100" cap="flat" cmpd="sng" algn="ctr">
            <a:solidFill>
              <a:srgbClr val="FC71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48149151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8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77986" y="0"/>
            <a:ext cx="3409252" cy="68595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7" tIns="45673" rIns="91347" bIns="4567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2098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08108" y="6500260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1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1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519" y="247996"/>
            <a:ext cx="7915611" cy="73168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519" y="1092897"/>
            <a:ext cx="7915611" cy="27706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798" b="0">
                <a:solidFill>
                  <a:schemeClr val="tx1"/>
                </a:solidFill>
              </a:defRPr>
            </a:lvl1pPr>
            <a:lvl2pPr marL="456743" indent="0" algn="ctr">
              <a:buNone/>
              <a:defRPr sz="1998"/>
            </a:lvl2pPr>
            <a:lvl3pPr marL="913485" indent="0" algn="ctr">
              <a:buNone/>
              <a:defRPr sz="1798"/>
            </a:lvl3pPr>
            <a:lvl4pPr marL="1370229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5" indent="0" algn="ctr">
              <a:buNone/>
              <a:defRPr sz="1598"/>
            </a:lvl6pPr>
            <a:lvl7pPr marL="2740458" indent="0" algn="ctr">
              <a:buNone/>
              <a:defRPr sz="1598"/>
            </a:lvl7pPr>
            <a:lvl8pPr marL="3197201" indent="0" algn="ctr">
              <a:buNone/>
              <a:defRPr sz="1598"/>
            </a:lvl8pPr>
            <a:lvl9pPr marL="3653944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348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518" y="41608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9">
            <a:extLst>
              <a:ext uri="{FF2B5EF4-FFF2-40B4-BE49-F238E27FC236}">
                <a16:creationId xmlns:a16="http://schemas.microsoft.com/office/drawing/2014/main" id="{718BE548-7EE4-48C9-AD62-F712DFEF5C3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80007" y="5321400"/>
            <a:ext cx="1027322" cy="1554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12" descr="C:\Users\92679\Desktop\branding\company logo\SEC logo Horizontal\الشعار مع الهتاف الاعلاني1.jpeg.png">
            <a:extLst>
              <a:ext uri="{FF2B5EF4-FFF2-40B4-BE49-F238E27FC236}">
                <a16:creationId xmlns:a16="http://schemas.microsoft.com/office/drawing/2014/main" id="{E56A4470-33F8-4A04-BA9B-2E51CD60B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151" y="6472119"/>
            <a:ext cx="1171612" cy="36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5DBFED00-F0DC-4C03-A1FC-1CC68C7D1635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930934" y="6555450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13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1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BC0170E-31F6-43B4-AB66-D4B9977C2851}"/>
              </a:ext>
            </a:extLst>
          </p:cNvPr>
          <p:cNvCxnSpPr/>
          <p:nvPr userDrawn="1"/>
        </p:nvCxnSpPr>
        <p:spPr>
          <a:xfrm flipV="1">
            <a:off x="564102" y="1024129"/>
            <a:ext cx="5751466" cy="16939"/>
          </a:xfrm>
          <a:prstGeom prst="line">
            <a:avLst/>
          </a:prstGeom>
          <a:noFill/>
          <a:ln w="38100" cap="flat" cmpd="sng" algn="ctr">
            <a:solidFill>
              <a:srgbClr val="FC71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428388815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8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08108" y="6500260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13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1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520" y="247996"/>
            <a:ext cx="11078199" cy="731689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518" y="41608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9">
            <a:extLst>
              <a:ext uri="{FF2B5EF4-FFF2-40B4-BE49-F238E27FC236}">
                <a16:creationId xmlns:a16="http://schemas.microsoft.com/office/drawing/2014/main" id="{059AC0A9-2201-46F8-B3BF-360AA9F2A1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80007" y="5321400"/>
            <a:ext cx="1027322" cy="1554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2A46B45-C316-4154-ABC2-FFFCCA4BA77D}"/>
              </a:ext>
            </a:extLst>
          </p:cNvPr>
          <p:cNvCxnSpPr/>
          <p:nvPr userDrawn="1"/>
        </p:nvCxnSpPr>
        <p:spPr>
          <a:xfrm flipV="1">
            <a:off x="564102" y="1024129"/>
            <a:ext cx="5751466" cy="16939"/>
          </a:xfrm>
          <a:prstGeom prst="line">
            <a:avLst/>
          </a:prstGeom>
          <a:noFill/>
          <a:ln w="38100" cap="flat" cmpd="sng" algn="ctr">
            <a:solidFill>
              <a:srgbClr val="FC7100"/>
            </a:solidFill>
            <a:prstDash val="solid"/>
          </a:ln>
          <a:effectLst/>
        </p:spPr>
      </p:cxnSp>
      <p:pic>
        <p:nvPicPr>
          <p:cNvPr id="13" name="Picture 12" descr="C:\Users\92679\Desktop\branding\company logo\SEC logo Horizontal\الشعار مع الهتاف الاعلاني1.jpeg.png">
            <a:extLst>
              <a:ext uri="{FF2B5EF4-FFF2-40B4-BE49-F238E27FC236}">
                <a16:creationId xmlns:a16="http://schemas.microsoft.com/office/drawing/2014/main" id="{55C5036A-D5A2-4795-A10D-A65BBD14C82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151" y="6472119"/>
            <a:ext cx="1171612" cy="36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29FB648B-39F3-4D79-8381-8C9AF4647195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930934" y="6555450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13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1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91229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519" y="6503176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518" y="41608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7EBE165-21EF-4567-B131-C9F5279A47C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5930934" y="6555450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13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1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689729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519" y="6503176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pic>
        <p:nvPicPr>
          <p:cNvPr id="5" name="Picture 4" descr="C:\Users\92679\Desktop\branding\company logo\SEC logo Horizontal\الشعار مع الهتاف الاعلاني1.jpeg.png">
            <a:extLst>
              <a:ext uri="{FF2B5EF4-FFF2-40B4-BE49-F238E27FC236}">
                <a16:creationId xmlns:a16="http://schemas.microsoft.com/office/drawing/2014/main" id="{A4850204-BC33-408C-9E54-702AA9D9E0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814460" y="2729319"/>
            <a:ext cx="4558319" cy="1400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850469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7" y="1"/>
            <a:ext cx="158689" cy="158787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AU" sz="2198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22CEABC-2E21-43DD-A211-E5CFEAF7A0C2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-2" y="0"/>
            <a:ext cx="12187240" cy="6859588"/>
          </a:xfrm>
          <a:prstGeom prst="rect">
            <a:avLst/>
          </a:prstGeom>
        </p:spPr>
      </p:pic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527" y="172252"/>
            <a:ext cx="11078198" cy="731689"/>
          </a:xfrm>
        </p:spPr>
        <p:txBody>
          <a:bodyPr>
            <a:normAutofit/>
          </a:bodyPr>
          <a:lstStyle>
            <a:lvl1pPr>
              <a:defRPr sz="2198"/>
            </a:lvl1pPr>
          </a:lstStyle>
          <a:p>
            <a:r>
              <a:rPr lang="en-AU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527" y="884933"/>
            <a:ext cx="11078198" cy="277063"/>
          </a:xfrm>
        </p:spPr>
        <p:txBody>
          <a:bodyPr wrap="square">
            <a:noAutofit/>
          </a:bodyPr>
          <a:lstStyle>
            <a:lvl1pPr marL="0" indent="0" algn="l">
              <a:buNone/>
              <a:defRPr sz="1498" b="0">
                <a:solidFill>
                  <a:schemeClr val="tx1"/>
                </a:solidFill>
              </a:defRPr>
            </a:lvl1pPr>
            <a:lvl2pPr marL="456780" indent="0" algn="ctr">
              <a:buNone/>
              <a:defRPr sz="1998"/>
            </a:lvl2pPr>
            <a:lvl3pPr marL="913559" indent="0" algn="ctr">
              <a:buNone/>
              <a:defRPr sz="1797"/>
            </a:lvl3pPr>
            <a:lvl4pPr marL="1370339" indent="0" algn="ctr">
              <a:buNone/>
              <a:defRPr sz="1596"/>
            </a:lvl4pPr>
            <a:lvl5pPr marL="1827116" indent="0" algn="ctr">
              <a:buNone/>
              <a:defRPr sz="1596"/>
            </a:lvl5pPr>
            <a:lvl6pPr marL="2283899" indent="0" algn="ctr">
              <a:buNone/>
              <a:defRPr sz="1596"/>
            </a:lvl6pPr>
            <a:lvl7pPr marL="2740678" indent="0" algn="ctr">
              <a:buNone/>
              <a:defRPr sz="1596"/>
            </a:lvl7pPr>
            <a:lvl8pPr marL="3197458" indent="0" algn="ctr">
              <a:buNone/>
              <a:defRPr sz="1596"/>
            </a:lvl8pPr>
            <a:lvl9pPr marL="3654237" indent="0" algn="ctr">
              <a:buNone/>
              <a:defRPr sz="1596"/>
            </a:lvl9pPr>
          </a:lstStyle>
          <a:p>
            <a:r>
              <a:rPr lang="en-AU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08107" y="6500267"/>
            <a:ext cx="325373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183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AU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18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5279FDD-DCA3-46BC-A0F1-63050F51584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3908" y="89346"/>
            <a:ext cx="4478810" cy="123140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AU" dirty="0"/>
              <a:t>Chapter › Topic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523" y="6503182"/>
            <a:ext cx="7275017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AU" sz="800" dirty="0"/>
              <a:t>Source: …</a:t>
            </a:r>
          </a:p>
        </p:txBody>
      </p:sp>
      <p:cxnSp>
        <p:nvCxnSpPr>
          <p:cNvPr id="11" name="BottomLine">
            <a:extLst>
              <a:ext uri="{FF2B5EF4-FFF2-40B4-BE49-F238E27FC236}">
                <a16:creationId xmlns:a16="http://schemas.microsoft.com/office/drawing/2014/main" id="{73673E91-5CB5-4E6E-8788-9DD3BC675009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527" y="6455263"/>
            <a:ext cx="1107819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TopLine">
            <a:extLst>
              <a:ext uri="{FF2B5EF4-FFF2-40B4-BE49-F238E27FC236}">
                <a16:creationId xmlns:a16="http://schemas.microsoft.com/office/drawing/2014/main" id="{BEB66CEF-C1A7-43DC-8129-265CC0E3CB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527" y="1182179"/>
            <a:ext cx="1107819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4561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688" cy="158787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98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519" y="172252"/>
            <a:ext cx="6965007" cy="731689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27254" y="0"/>
            <a:ext cx="4359984" cy="6859588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7" tIns="45673" rIns="91347" bIns="4567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9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38545" y="6500887"/>
            <a:ext cx="1134484" cy="13853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3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08108" y="6500260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13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1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0179" y="6455263"/>
            <a:ext cx="346422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519" y="6455263"/>
            <a:ext cx="6965007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0179" y="1182180"/>
            <a:ext cx="346422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519" y="1182180"/>
            <a:ext cx="6965007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519" y="884931"/>
            <a:ext cx="6965007" cy="277063"/>
          </a:xfrm>
        </p:spPr>
        <p:txBody>
          <a:bodyPr wrap="square">
            <a:noAutofit/>
          </a:bodyPr>
          <a:lstStyle>
            <a:lvl1pPr marL="0" indent="0" algn="l">
              <a:buNone/>
              <a:defRPr sz="1798" b="0">
                <a:solidFill>
                  <a:sysClr val="windowText" lastClr="000000"/>
                </a:solidFill>
              </a:defRPr>
            </a:lvl1pPr>
            <a:lvl2pPr marL="456743" indent="0" algn="ctr">
              <a:buNone/>
              <a:defRPr sz="1998"/>
            </a:lvl2pPr>
            <a:lvl3pPr marL="913485" indent="0" algn="ctr">
              <a:buNone/>
              <a:defRPr sz="1798"/>
            </a:lvl3pPr>
            <a:lvl4pPr marL="1370229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5" indent="0" algn="ctr">
              <a:buNone/>
              <a:defRPr sz="1598"/>
            </a:lvl6pPr>
            <a:lvl7pPr marL="2740458" indent="0" algn="ctr">
              <a:buNone/>
              <a:defRPr sz="1598"/>
            </a:lvl7pPr>
            <a:lvl8pPr marL="3197201" indent="0" algn="ctr">
              <a:buNone/>
              <a:defRPr sz="1598"/>
            </a:lvl8pPr>
            <a:lvl9pPr marL="3653944" indent="0" algn="ctr">
              <a:buNone/>
              <a:defRPr sz="1598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520" y="6503176"/>
            <a:ext cx="696500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8171543" y="89341"/>
            <a:ext cx="3464222" cy="123140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25881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362" y="9018"/>
            <a:ext cx="10968514" cy="9001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136590" y="6449352"/>
            <a:ext cx="2843689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fld id="{ECC9E591-E8D2-4829-BDDA-7CC214174495}" type="datetime4">
              <a:rPr lang="en-US" smtClean="0"/>
              <a:t>May 23, 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87517" y="6449352"/>
            <a:ext cx="6369804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0073" y="6449352"/>
            <a:ext cx="524329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fld id="{BA72B151-4434-4606-98AB-039C983CD3F5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851266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519" y="6503176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0264238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Without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8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520" y="247996"/>
            <a:ext cx="11078199" cy="731689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520" y="1092897"/>
            <a:ext cx="11078199" cy="2770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798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518" y="41608"/>
            <a:ext cx="3841837" cy="12314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9CAB38E7-419E-4D7E-A754-1A7E68180C5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519" y="6284334"/>
            <a:ext cx="7275018" cy="12314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39459008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98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0572" y="0"/>
            <a:ext cx="6096666" cy="6859588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47" tIns="45673" rIns="91347" bIns="4567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9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38545" y="6500887"/>
            <a:ext cx="1134484" cy="13853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3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08108" y="6500260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13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1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0605" y="6455263"/>
            <a:ext cx="506379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521" y="6455263"/>
            <a:ext cx="506379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0605" y="1182180"/>
            <a:ext cx="506379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521" y="1182180"/>
            <a:ext cx="506379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521" y="1182180"/>
            <a:ext cx="506379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521" y="172252"/>
            <a:ext cx="5063797" cy="73168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521" y="884931"/>
            <a:ext cx="5063797" cy="27706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798" b="0">
                <a:solidFill>
                  <a:schemeClr val="tx1"/>
                </a:solidFill>
              </a:defRPr>
            </a:lvl1pPr>
            <a:lvl2pPr marL="456743" indent="0" algn="ctr">
              <a:buNone/>
              <a:defRPr sz="1998"/>
            </a:lvl2pPr>
            <a:lvl3pPr marL="913485" indent="0" algn="ctr">
              <a:buNone/>
              <a:defRPr sz="1798"/>
            </a:lvl3pPr>
            <a:lvl4pPr marL="1370229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5" indent="0" algn="ctr">
              <a:buNone/>
              <a:defRPr sz="1598"/>
            </a:lvl6pPr>
            <a:lvl7pPr marL="2740458" indent="0" algn="ctr">
              <a:buNone/>
              <a:defRPr sz="1598"/>
            </a:lvl7pPr>
            <a:lvl8pPr marL="3197201" indent="0" algn="ctr">
              <a:buNone/>
              <a:defRPr sz="1598"/>
            </a:lvl8pPr>
            <a:lvl9pPr marL="3653944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519" y="6503176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3909" y="89341"/>
            <a:ext cx="4478810" cy="123140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924195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11621595" y="6567231"/>
            <a:ext cx="158636" cy="1570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3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102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34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2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449696" y="6535567"/>
            <a:ext cx="54502" cy="186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6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548446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98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520" y="172252"/>
            <a:ext cx="11078199" cy="73168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520" y="884931"/>
            <a:ext cx="11078199" cy="277063"/>
          </a:xfrm>
        </p:spPr>
        <p:txBody>
          <a:bodyPr wrap="square">
            <a:noAutofit/>
          </a:bodyPr>
          <a:lstStyle>
            <a:lvl1pPr marL="0" indent="0" algn="l">
              <a:buNone/>
              <a:defRPr sz="1798" b="0">
                <a:solidFill>
                  <a:schemeClr val="tx1"/>
                </a:solidFill>
              </a:defRPr>
            </a:lvl1pPr>
            <a:lvl2pPr marL="456743" indent="0" algn="ctr">
              <a:buNone/>
              <a:defRPr sz="1998"/>
            </a:lvl2pPr>
            <a:lvl3pPr marL="913485" indent="0" algn="ctr">
              <a:buNone/>
              <a:defRPr sz="1798"/>
            </a:lvl3pPr>
            <a:lvl4pPr marL="1370229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5" indent="0" algn="ctr">
              <a:buNone/>
              <a:defRPr sz="1598"/>
            </a:lvl6pPr>
            <a:lvl7pPr marL="2740458" indent="0" algn="ctr">
              <a:buNone/>
              <a:defRPr sz="1598"/>
            </a:lvl7pPr>
            <a:lvl8pPr marL="3197201" indent="0" algn="ctr">
              <a:buNone/>
              <a:defRPr sz="1598"/>
            </a:lvl8pPr>
            <a:lvl9pPr marL="3653944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08108" y="6500260"/>
            <a:ext cx="325374" cy="1385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13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1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3909" y="89342"/>
            <a:ext cx="4478810" cy="123140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519" y="6503176"/>
            <a:ext cx="7275018" cy="1231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2959845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70461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363" y="273113"/>
            <a:ext cx="4009517" cy="1162319"/>
          </a:xfrm>
          <a:prstGeom prst="rect">
            <a:avLst/>
          </a:prstGeo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4872" y="273114"/>
            <a:ext cx="6813005" cy="5854468"/>
          </a:xfrm>
          <a:prstGeom prst="rect">
            <a:avLst/>
          </a:prstGeom>
        </p:spPr>
        <p:txBody>
          <a:bodyPr/>
          <a:lstStyle>
            <a:lvl1pPr>
              <a:defRPr sz="3800"/>
            </a:lvl1pPr>
            <a:lvl2pPr>
              <a:defRPr sz="3300"/>
            </a:lvl2pPr>
            <a:lvl3pPr>
              <a:defRPr sz="28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363" y="1435433"/>
            <a:ext cx="4009517" cy="46921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544102" indent="0">
              <a:buNone/>
              <a:defRPr sz="1400"/>
            </a:lvl2pPr>
            <a:lvl3pPr marL="1088204" indent="0">
              <a:buNone/>
              <a:defRPr sz="1200"/>
            </a:lvl3pPr>
            <a:lvl4pPr marL="1632305" indent="0">
              <a:buNone/>
              <a:defRPr sz="1000"/>
            </a:lvl4pPr>
            <a:lvl5pPr marL="2176407" indent="0">
              <a:buNone/>
              <a:defRPr sz="1000"/>
            </a:lvl5pPr>
            <a:lvl6pPr marL="2720509" indent="0">
              <a:buNone/>
              <a:defRPr sz="1000"/>
            </a:lvl6pPr>
            <a:lvl7pPr marL="3264611" indent="0">
              <a:buNone/>
              <a:defRPr sz="1000"/>
            </a:lvl7pPr>
            <a:lvl8pPr marL="3808712" indent="0">
              <a:buNone/>
              <a:defRPr sz="1000"/>
            </a:lvl8pPr>
            <a:lvl9pPr marL="435281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136590" y="6449352"/>
            <a:ext cx="2843689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fld id="{E11C0F71-7E70-41AB-8EFA-ADD4485EBD1D}" type="datetime4">
              <a:rPr lang="en-US" smtClean="0"/>
              <a:t>May 23,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87517" y="6449352"/>
            <a:ext cx="6369804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0073" y="6449352"/>
            <a:ext cx="524329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fld id="{BA72B151-4434-4606-98AB-039C983CD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1738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517" y="5305826"/>
            <a:ext cx="9113610" cy="566869"/>
          </a:xfrm>
          <a:prstGeom prst="rect">
            <a:avLst/>
          </a:prstGeo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87517" y="612917"/>
            <a:ext cx="9113610" cy="45452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800"/>
            </a:lvl1pPr>
            <a:lvl2pPr marL="544102" indent="0">
              <a:buNone/>
              <a:defRPr sz="3300"/>
            </a:lvl2pPr>
            <a:lvl3pPr marL="1088204" indent="0">
              <a:buNone/>
              <a:defRPr sz="2800"/>
            </a:lvl3pPr>
            <a:lvl4pPr marL="1632305" indent="0">
              <a:buNone/>
              <a:defRPr sz="2400"/>
            </a:lvl4pPr>
            <a:lvl5pPr marL="2176407" indent="0">
              <a:buNone/>
              <a:defRPr sz="2400"/>
            </a:lvl5pPr>
            <a:lvl6pPr marL="2720509" indent="0">
              <a:buNone/>
              <a:defRPr sz="2400"/>
            </a:lvl6pPr>
            <a:lvl7pPr marL="3264611" indent="0">
              <a:buNone/>
              <a:defRPr sz="2400"/>
            </a:lvl7pPr>
            <a:lvl8pPr marL="3808712" indent="0">
              <a:buNone/>
              <a:defRPr sz="2400"/>
            </a:lvl8pPr>
            <a:lvl9pPr marL="4352814" indent="0">
              <a:buNone/>
              <a:defRPr sz="24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7517" y="5872696"/>
            <a:ext cx="9113610" cy="4377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544102" indent="0">
              <a:buNone/>
              <a:defRPr sz="1400"/>
            </a:lvl2pPr>
            <a:lvl3pPr marL="1088204" indent="0">
              <a:buNone/>
              <a:defRPr sz="1200"/>
            </a:lvl3pPr>
            <a:lvl4pPr marL="1632305" indent="0">
              <a:buNone/>
              <a:defRPr sz="1000"/>
            </a:lvl4pPr>
            <a:lvl5pPr marL="2176407" indent="0">
              <a:buNone/>
              <a:defRPr sz="1000"/>
            </a:lvl5pPr>
            <a:lvl6pPr marL="2720509" indent="0">
              <a:buNone/>
              <a:defRPr sz="1000"/>
            </a:lvl6pPr>
            <a:lvl7pPr marL="3264611" indent="0">
              <a:buNone/>
              <a:defRPr sz="1000"/>
            </a:lvl7pPr>
            <a:lvl8pPr marL="3808712" indent="0">
              <a:buNone/>
              <a:defRPr sz="1000"/>
            </a:lvl8pPr>
            <a:lvl9pPr marL="4352814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136590" y="6449352"/>
            <a:ext cx="2843689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fld id="{40798FA4-3792-4FFD-92BB-13E31FD7DC5B}" type="datetime4">
              <a:rPr lang="en-US" smtClean="0"/>
              <a:t>May 23,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87517" y="6449352"/>
            <a:ext cx="6369804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0073" y="6449352"/>
            <a:ext cx="524329" cy="365210"/>
          </a:xfrm>
          <a:prstGeom prst="rect">
            <a:avLst/>
          </a:prstGeom>
        </p:spPr>
        <p:txBody>
          <a:bodyPr lIns="45702" tIns="22851" rIns="45702" bIns="22851"/>
          <a:lstStyle/>
          <a:p>
            <a:fld id="{BA72B151-4434-4606-98AB-039C983CD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2786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tags" Target="../tags/tag12.xml"/><Relationship Id="rId39" Type="http://schemas.openxmlformats.org/officeDocument/2006/relationships/tags" Target="../tags/tag25.xml"/><Relationship Id="rId21" Type="http://schemas.openxmlformats.org/officeDocument/2006/relationships/slideLayout" Target="../slideLayouts/slideLayout35.xml"/><Relationship Id="rId34" Type="http://schemas.openxmlformats.org/officeDocument/2006/relationships/tags" Target="../tags/tag20.xml"/><Relationship Id="rId42" Type="http://schemas.openxmlformats.org/officeDocument/2006/relationships/tags" Target="../tags/tag28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tags" Target="../tags/tag23.xml"/><Relationship Id="rId40" Type="http://schemas.openxmlformats.org/officeDocument/2006/relationships/tags" Target="../tags/tag26.xml"/><Relationship Id="rId45" Type="http://schemas.openxmlformats.org/officeDocument/2006/relationships/image" Target="../media/image1.png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tags" Target="../tags/tag22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31" Type="http://schemas.openxmlformats.org/officeDocument/2006/relationships/tags" Target="../tags/tag17.xml"/><Relationship Id="rId44" Type="http://schemas.openxmlformats.org/officeDocument/2006/relationships/image" Target="../media/image6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heme" Target="../theme/theme3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Relationship Id="rId43" Type="http://schemas.openxmlformats.org/officeDocument/2006/relationships/oleObject" Target="../embeddings/oleObject1.bin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38" Type="http://schemas.openxmlformats.org/officeDocument/2006/relationships/tags" Target="../tags/tag24.xml"/><Relationship Id="rId46" Type="http://schemas.openxmlformats.org/officeDocument/2006/relationships/image" Target="../media/image7.png"/><Relationship Id="rId20" Type="http://schemas.openxmlformats.org/officeDocument/2006/relationships/slideLayout" Target="../slideLayouts/slideLayout34.xml"/><Relationship Id="rId41" Type="http://schemas.openxmlformats.org/officeDocument/2006/relationships/tags" Target="../tags/tag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image" Target="../media/image15.emf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oleObject" Target="../embeddings/oleObject21.bin"/><Relationship Id="rId5" Type="http://schemas.openxmlformats.org/officeDocument/2006/relationships/slideLayout" Target="../slideLayouts/slideLayout40.xml"/><Relationship Id="rId10" Type="http://schemas.openxmlformats.org/officeDocument/2006/relationships/tags" Target="../tags/tag175.xml"/><Relationship Id="rId4" Type="http://schemas.openxmlformats.org/officeDocument/2006/relationships/slideLayout" Target="../slideLayouts/slideLayout39.xml"/><Relationship Id="rId9" Type="http://schemas.openxmlformats.org/officeDocument/2006/relationships/theme" Target="../theme/theme4.xml"/><Relationship Id="rId14" Type="http://schemas.openxmlformats.org/officeDocument/2006/relationships/image" Target="../media/image16.png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tags" Target="../tags/tag181.xml"/><Relationship Id="rId39" Type="http://schemas.openxmlformats.org/officeDocument/2006/relationships/tags" Target="../tags/tag194.xml"/><Relationship Id="rId21" Type="http://schemas.openxmlformats.org/officeDocument/2006/relationships/slideLayout" Target="../slideLayouts/slideLayout64.xml"/><Relationship Id="rId34" Type="http://schemas.openxmlformats.org/officeDocument/2006/relationships/tags" Target="../tags/tag189.xml"/><Relationship Id="rId42" Type="http://schemas.openxmlformats.org/officeDocument/2006/relationships/tags" Target="../tags/tag197.xml"/><Relationship Id="rId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9" Type="http://schemas.openxmlformats.org/officeDocument/2006/relationships/tags" Target="../tags/tag184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tags" Target="../tags/tag179.xml"/><Relationship Id="rId32" Type="http://schemas.openxmlformats.org/officeDocument/2006/relationships/tags" Target="../tags/tag187.xml"/><Relationship Id="rId37" Type="http://schemas.openxmlformats.org/officeDocument/2006/relationships/tags" Target="../tags/tag192.xml"/><Relationship Id="rId40" Type="http://schemas.openxmlformats.org/officeDocument/2006/relationships/tags" Target="../tags/tag195.xml"/><Relationship Id="rId45" Type="http://schemas.openxmlformats.org/officeDocument/2006/relationships/image" Target="../media/image1.png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tags" Target="../tags/tag178.xml"/><Relationship Id="rId28" Type="http://schemas.openxmlformats.org/officeDocument/2006/relationships/tags" Target="../tags/tag183.xml"/><Relationship Id="rId36" Type="http://schemas.openxmlformats.org/officeDocument/2006/relationships/tags" Target="../tags/tag191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31" Type="http://schemas.openxmlformats.org/officeDocument/2006/relationships/tags" Target="../tags/tag186.xml"/><Relationship Id="rId44" Type="http://schemas.openxmlformats.org/officeDocument/2006/relationships/image" Target="../media/image6.emf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theme" Target="../theme/theme5.xml"/><Relationship Id="rId27" Type="http://schemas.openxmlformats.org/officeDocument/2006/relationships/tags" Target="../tags/tag182.xml"/><Relationship Id="rId30" Type="http://schemas.openxmlformats.org/officeDocument/2006/relationships/tags" Target="../tags/tag185.xml"/><Relationship Id="rId35" Type="http://schemas.openxmlformats.org/officeDocument/2006/relationships/tags" Target="../tags/tag190.xml"/><Relationship Id="rId43" Type="http://schemas.openxmlformats.org/officeDocument/2006/relationships/oleObject" Target="../embeddings/oleObject23.bin"/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tags" Target="../tags/tag180.xml"/><Relationship Id="rId33" Type="http://schemas.openxmlformats.org/officeDocument/2006/relationships/tags" Target="../tags/tag188.xml"/><Relationship Id="rId38" Type="http://schemas.openxmlformats.org/officeDocument/2006/relationships/tags" Target="../tags/tag193.xml"/><Relationship Id="rId46" Type="http://schemas.openxmlformats.org/officeDocument/2006/relationships/image" Target="../media/image7.png"/><Relationship Id="rId20" Type="http://schemas.openxmlformats.org/officeDocument/2006/relationships/slideLayout" Target="../slideLayouts/slideLayout63.xml"/><Relationship Id="rId41" Type="http://schemas.openxmlformats.org/officeDocument/2006/relationships/tags" Target="../tags/tag19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62583" y="1374838"/>
            <a:ext cx="11065179" cy="50351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977213" y="6679345"/>
            <a:ext cx="2344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095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095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algn="ctr"/>
            <a:endParaRPr lang="en-US" sz="9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562584" y="162000"/>
            <a:ext cx="11065179" cy="831600"/>
          </a:xfrm>
          <a:prstGeom prst="rect">
            <a:avLst/>
          </a:prstGeom>
        </p:spPr>
        <p:txBody>
          <a:bodyPr vert="horz" lIns="0" tIns="45467" rIns="0" bIns="45467" rtlCol="0" anchor="b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pic>
        <p:nvPicPr>
          <p:cNvPr id="14" name="Picture 29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1484" y="5320189"/>
            <a:ext cx="1027455" cy="1554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5" name="Straight Connector 14"/>
          <p:cNvCxnSpPr/>
          <p:nvPr userDrawn="1"/>
        </p:nvCxnSpPr>
        <p:spPr>
          <a:xfrm flipV="1">
            <a:off x="564174" y="1023912"/>
            <a:ext cx="5752215" cy="16935"/>
          </a:xfrm>
          <a:prstGeom prst="line">
            <a:avLst/>
          </a:prstGeom>
          <a:noFill/>
          <a:ln w="38100" cap="flat" cmpd="sng" algn="ctr">
            <a:solidFill>
              <a:srgbClr val="FC7100"/>
            </a:solidFill>
            <a:prstDash val="solid"/>
          </a:ln>
          <a:effectLst/>
        </p:spPr>
      </p:cxnSp>
      <p:pic>
        <p:nvPicPr>
          <p:cNvPr id="16" name="Picture 15" descr="C:\Users\92679\Desktop\branding\company logo\SEC logo Horizontal\الشعار مع الهتاف الاعلاني1.jpeg.pn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248" y="6470621"/>
            <a:ext cx="1171765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5"/>
    </p:custDataLst>
    <p:extLst>
      <p:ext uri="{BB962C8B-B14F-4D97-AF65-F5344CB8AC3E}">
        <p14:creationId xmlns:p14="http://schemas.microsoft.com/office/powerpoint/2010/main" val="1166895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l" defTabSz="1088204" rtl="0" eaLnBrk="1" latinLnBrk="0" hangingPunct="1">
        <a:spcBef>
          <a:spcPct val="0"/>
        </a:spcBef>
        <a:buNone/>
        <a:defRPr lang="en-US" sz="3600" b="0" i="0" u="none" strike="noStrike" kern="1200" cap="none" spc="0" baseline="0" smtClean="0">
          <a:ln>
            <a:noFill/>
          </a:ln>
          <a:solidFill>
            <a:schemeClr val="tx2">
              <a:lumMod val="75000"/>
            </a:schemeClr>
          </a:solidFill>
          <a:uFillTx/>
          <a:latin typeface="Helvetica Neue"/>
          <a:ea typeface="+mn-ea"/>
          <a:cs typeface="+mj-cs"/>
          <a:sym typeface="Helvetica Light"/>
        </a:defRPr>
      </a:lvl1pPr>
    </p:titleStyle>
    <p:bodyStyle>
      <a:lvl1pPr marL="0" marR="0" indent="0" algn="l" defTabSz="394177" rtl="0" eaLnBrk="1" fontAlgn="auto" latinLnBrk="0" hangingPunct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0" lang="en-US" sz="1900" b="0" i="0" u="none" strike="noStrike" kern="1200" cap="none" spc="0" normalizeH="0" baseline="0" dirty="0" smtClean="0">
          <a:ln>
            <a:noFill/>
          </a:ln>
          <a:solidFill>
            <a:schemeClr val="accent1">
              <a:lumMod val="50000"/>
            </a:schemeClr>
          </a:solidFill>
          <a:effectLst/>
          <a:uFillTx/>
          <a:latin typeface="Helvetica Neue"/>
          <a:ea typeface="+mn-ea"/>
          <a:cs typeface="+mn-cs"/>
          <a:sym typeface="Helvetica Light"/>
        </a:defRPr>
      </a:lvl1pPr>
      <a:lvl2pPr marL="884165" indent="-340063" algn="l" defTabSz="1088204" rtl="0" eaLnBrk="1" latinLnBrk="0" hangingPunct="1">
        <a:spcBef>
          <a:spcPct val="20000"/>
        </a:spcBef>
        <a:buFont typeface="Arial" pitchFamily="34" charset="0"/>
        <a:buChar char="–"/>
        <a:defRPr sz="3300" kern="1200">
          <a:solidFill>
            <a:schemeClr val="tx1"/>
          </a:solidFill>
          <a:latin typeface="+mn-lt"/>
          <a:ea typeface="+mn-ea"/>
          <a:cs typeface="+mn-cs"/>
        </a:defRPr>
      </a:lvl2pPr>
      <a:lvl3pPr marL="1360254" indent="-272051" algn="l" defTabSz="1088204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904356" indent="-272051" algn="l" defTabSz="1088204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48458" indent="-272051" algn="l" defTabSz="1088204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92559" indent="-272051" algn="l" defTabSz="108820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6661" indent="-272051" algn="l" defTabSz="108820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0763" indent="-272051" algn="l" defTabSz="108820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4865" indent="-272051" algn="l" defTabSz="108820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20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102" algn="l" defTabSz="108820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204" algn="l" defTabSz="108820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305" algn="l" defTabSz="108820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407" algn="l" defTabSz="108820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509" algn="l" defTabSz="108820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611" algn="l" defTabSz="108820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8712" algn="l" defTabSz="108820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2814" algn="l" defTabSz="108820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710224" y="2066902"/>
            <a:ext cx="184634" cy="1570019"/>
          </a:xfrm>
          <a:prstGeom prst="rect">
            <a:avLst/>
          </a:prstGeom>
        </p:spPr>
        <p:txBody>
          <a:bodyPr wrap="none" lIns="91368" tIns="45700" rIns="91368" bIns="4570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endParaRPr lang="en-US" sz="9596" b="1" dirty="0">
              <a:solidFill>
                <a:srgbClr val="FC7100"/>
              </a:solidFill>
              <a:latin typeface="Trebuchet MS" panose="020B0603020202020204" pitchFamily="34" charset="0"/>
            </a:endParaRPr>
          </a:p>
        </p:txBody>
      </p:sp>
      <p:sp>
        <p:nvSpPr>
          <p:cNvPr id="23" name="Text Placeholder 22"/>
          <p:cNvSpPr>
            <a:spLocks noGrp="1"/>
          </p:cNvSpPr>
          <p:nvPr>
            <p:ph type="body" idx="1"/>
          </p:nvPr>
        </p:nvSpPr>
        <p:spPr>
          <a:xfrm>
            <a:off x="4687504" y="1219484"/>
            <a:ext cx="6890214" cy="49080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en-US" dirty="0"/>
          </a:p>
          <a:p>
            <a:pPr lvl="0"/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3"/>
          <a:srcRect t="642" b="1272"/>
          <a:stretch/>
        </p:blipFill>
        <p:spPr>
          <a:xfrm>
            <a:off x="1" y="65329"/>
            <a:ext cx="4575207" cy="6718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598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txStyles>
    <p:titleStyle>
      <a:lvl1pPr algn="ctr" defTabSz="914034" rtl="0" eaLnBrk="1" latinLnBrk="0" hangingPunct="1">
        <a:spcBef>
          <a:spcPct val="0"/>
        </a:spcBef>
        <a:buNone/>
        <a:defRPr sz="43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034" rtl="0" eaLnBrk="1" latinLnBrk="0" hangingPunct="1">
        <a:lnSpc>
          <a:spcPct val="200000"/>
        </a:lnSpc>
        <a:spcBef>
          <a:spcPct val="20000"/>
        </a:spcBef>
        <a:buFont typeface="Arial" panose="020B0604020202020204" pitchFamily="34" charset="0"/>
        <a:buNone/>
        <a:defRPr kumimoji="0" lang="en-US" sz="2799" b="1" i="0" u="none" strike="noStrike" kern="0" cap="none" spc="0" normalizeH="0" baseline="0" dirty="0" smtClean="0">
          <a:ln>
            <a:noFill/>
          </a:ln>
          <a:solidFill>
            <a:srgbClr val="133063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017" indent="0" algn="l" defTabSz="914034" rtl="0" eaLnBrk="1" latinLnBrk="0" hangingPunct="1">
        <a:lnSpc>
          <a:spcPct val="200000"/>
        </a:lnSpc>
        <a:spcBef>
          <a:spcPct val="20000"/>
        </a:spcBef>
        <a:buFont typeface="Arial" panose="020B0604020202020204" pitchFamily="34" charset="0"/>
        <a:buNone/>
        <a:defRPr kumimoji="0" lang="en-US" sz="2799" b="1" i="0" u="none" strike="noStrike" kern="0" cap="none" spc="0" normalizeH="0" baseline="0" dirty="0" smtClean="0">
          <a:ln>
            <a:noFill/>
          </a:ln>
          <a:solidFill>
            <a:srgbClr val="E2E2E2">
              <a:lumMod val="75000"/>
            </a:srgbClr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034" indent="0" algn="l" defTabSz="914034" rtl="0" eaLnBrk="1" latinLnBrk="0" hangingPunct="1">
        <a:lnSpc>
          <a:spcPct val="200000"/>
        </a:lnSpc>
        <a:spcBef>
          <a:spcPct val="20000"/>
        </a:spcBef>
        <a:buFont typeface="Arial" panose="020B0604020202020204" pitchFamily="34" charset="0"/>
        <a:buNone/>
        <a:defRPr kumimoji="0" lang="en-US" sz="2799" b="1" i="0" u="none" strike="noStrike" kern="0" cap="none" spc="0" normalizeH="0" baseline="0" dirty="0" smtClean="0">
          <a:ln>
            <a:noFill/>
          </a:ln>
          <a:solidFill>
            <a:srgbClr val="E2E2E2">
              <a:lumMod val="75000"/>
            </a:srgbClr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051" indent="0" algn="l" defTabSz="914034" rtl="0" eaLnBrk="1" latinLnBrk="0" hangingPunct="1">
        <a:lnSpc>
          <a:spcPct val="200000"/>
        </a:lnSpc>
        <a:spcBef>
          <a:spcPct val="20000"/>
        </a:spcBef>
        <a:buFont typeface="Arial" panose="020B0604020202020204" pitchFamily="34" charset="0"/>
        <a:buNone/>
        <a:defRPr kumimoji="0" lang="en-US" sz="2799" b="1" i="0" u="none" strike="noStrike" kern="0" cap="none" spc="0" normalizeH="0" baseline="0" dirty="0" smtClean="0">
          <a:ln>
            <a:noFill/>
          </a:ln>
          <a:solidFill>
            <a:srgbClr val="E2E2E2">
              <a:lumMod val="75000"/>
            </a:srgbClr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068" indent="0" algn="l" defTabSz="914034" rtl="0" eaLnBrk="1" latinLnBrk="0" hangingPunct="1">
        <a:lnSpc>
          <a:spcPct val="200000"/>
        </a:lnSpc>
        <a:spcBef>
          <a:spcPct val="20000"/>
        </a:spcBef>
        <a:buFont typeface="Arial" panose="020B0604020202020204" pitchFamily="34" charset="0"/>
        <a:buNone/>
        <a:defRPr kumimoji="0" lang="en-US" sz="2799" b="1" i="0" u="none" strike="noStrike" kern="0" cap="none" spc="0" normalizeH="0" baseline="0" dirty="0">
          <a:ln>
            <a:noFill/>
          </a:ln>
          <a:solidFill>
            <a:srgbClr val="E2E2E2">
              <a:lumMod val="75000"/>
            </a:srgbClr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3594" indent="-228509" algn="l" defTabSz="91403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611" indent="-228509" algn="l" defTabSz="91403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628" indent="-228509" algn="l" defTabSz="91403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646" indent="-228509" algn="l" defTabSz="91403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3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17" algn="l" defTabSz="91403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034" algn="l" defTabSz="91403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051" algn="l" defTabSz="91403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068" algn="l" defTabSz="91403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086" algn="l" defTabSz="91403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103" algn="l" defTabSz="91403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120" algn="l" defTabSz="91403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137" algn="l" defTabSz="91403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413" imgH="416" progId="TCLayout.ActiveDocument.1">
                  <p:embed/>
                </p:oleObj>
              </mc:Choice>
              <mc:Fallback>
                <p:oleObj name="think-cell Slide" r:id="rId4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9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756" y="6096364"/>
            <a:ext cx="7275781" cy="12314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800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520" y="247995"/>
            <a:ext cx="11078199" cy="73168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85715" cy="6859588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2099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519" y="1403929"/>
            <a:ext cx="450268" cy="12314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800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985400" y="2171303"/>
            <a:ext cx="3048062" cy="5695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599" dirty="0"/>
              <a:t>Above Chart Exhibit Title</a:t>
            </a:r>
          </a:p>
          <a:p>
            <a:pPr lvl="0"/>
            <a:r>
              <a:rPr lang="en-US" sz="1599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520" y="2171303"/>
            <a:ext cx="2483685" cy="16315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B90C1B8-142B-48AA-B35B-6F227EFF7F97}"/>
              </a:ext>
            </a:extLst>
          </p:cNvPr>
          <p:cNvGrpSpPr/>
          <p:nvPr userDrawn="1"/>
        </p:nvGrpSpPr>
        <p:grpSpPr>
          <a:xfrm>
            <a:off x="10313274" y="3150952"/>
            <a:ext cx="1319444" cy="958508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CDC4A11C-F5CF-46ED-932E-4EDF3629439B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9" dirty="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EE1A9B53-2BEB-462E-8F61-AF7114CD454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9" dirty="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29721D8F-5CC9-4AE2-AA82-1C324A82DA51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9" dirty="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E33EFEF5-1407-4A47-9ABF-82B96BEACED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399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EB9CF9D1-1C34-40A4-BA2D-E4C5444CE28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399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FA87764A-492F-4DD7-AFC9-4310E79A5D9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399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C47A91D0-C224-4F09-AC81-83174C279BAD}"/>
              </a:ext>
            </a:extLst>
          </p:cNvPr>
          <p:cNvGrpSpPr/>
          <p:nvPr userDrawn="1"/>
        </p:nvGrpSpPr>
        <p:grpSpPr>
          <a:xfrm>
            <a:off x="10684141" y="1145639"/>
            <a:ext cx="948578" cy="1732260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49111644-96D9-454D-8E8E-58D648BE710D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9" dirty="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76EEA138-C20D-4CC8-9DCA-C9F4DAB2C8EA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9" dirty="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C5145B83-8454-41C7-9EBB-7B971071EF0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9" dirty="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9224ECC4-3B06-4A43-A577-8991F92E9443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9" dirty="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57558493-2D97-4530-A3BA-B85F7F64E441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9" dirty="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F9E15DB7-674B-44A4-BEBE-698067FEE68D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933026A7-336E-441F-985E-2BC271C73361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9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92461D4F-B666-4304-BA9C-433AFC183E56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99" dirty="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C5F2AA22-A1BD-4BF6-A0E1-5A77A72DD68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28759FA4-6B5E-474D-B814-633AA5DE6CB8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9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3F3DDA3-7CB9-4AAE-AF09-EE8A7C7628E2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99" dirty="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AA1D7889-019D-4BB0-BAC3-389F73825505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91C94E41-BAA1-43DF-8223-87CCB341D046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9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AE91347A-A856-4771-9145-A45A853F6C55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99" dirty="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7A3B359A-2ABA-46EA-9C17-D05CD5100B2F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60499390-12EC-4266-A673-BA5473B9F55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9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D8E76C7D-8CE9-451D-964B-D2D37E44DD2B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99" dirty="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C75804D1-3867-48B4-8B7B-8C07800B511B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679C4E02-AFF2-4464-BDF2-F60A5D0E293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9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E13F367E-7225-4962-9451-B9867766F725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99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2520033-3AB3-4CC2-8BF2-E7B90FCC4017}"/>
              </a:ext>
            </a:extLst>
          </p:cNvPr>
          <p:cNvGrpSpPr/>
          <p:nvPr userDrawn="1"/>
        </p:nvGrpSpPr>
        <p:grpSpPr>
          <a:xfrm>
            <a:off x="10710616" y="4382514"/>
            <a:ext cx="922103" cy="1717680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6E1D932A-9A7C-4D97-9149-02F06672FB7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99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D3397951-0E68-421D-A856-3866716F702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99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16713F3F-BC48-4D39-9E55-752B7306B006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99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8DA9B2CE-E17B-432C-8718-741823C7BD37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99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FBF5EEE5-C63F-4560-97A2-A6F388E3850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99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330E8172-1E74-44BA-A09C-5A3FE00106A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9" dirty="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8C8F5FB0-EEE3-426A-B787-4D9D945B435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9" dirty="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69A19859-22F3-4513-A332-E0C187E94C8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9" dirty="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212B57BB-C0D6-4F8E-881F-B88CEBD18EE5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9" dirty="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6327DAF-4B59-49D5-A3FB-F107A009DF9F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9" dirty="0"/>
                <a:t>Legend</a:t>
              </a:r>
            </a:p>
          </p:txBody>
        </p:sp>
      </p:grpSp>
      <p:pic>
        <p:nvPicPr>
          <p:cNvPr id="148" name="Picture 29">
            <a:extLst>
              <a:ext uri="{FF2B5EF4-FFF2-40B4-BE49-F238E27FC236}">
                <a16:creationId xmlns:a16="http://schemas.microsoft.com/office/drawing/2014/main" id="{726560B6-A688-4AA8-94DE-04D11879154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80006" y="5321399"/>
            <a:ext cx="1027322" cy="1554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DFA1BAE7-3E1C-4ACD-85EB-DA1BAC1E798F}"/>
              </a:ext>
            </a:extLst>
          </p:cNvPr>
          <p:cNvCxnSpPr/>
          <p:nvPr userDrawn="1"/>
        </p:nvCxnSpPr>
        <p:spPr>
          <a:xfrm flipV="1">
            <a:off x="564101" y="1024128"/>
            <a:ext cx="5751466" cy="16939"/>
          </a:xfrm>
          <a:prstGeom prst="line">
            <a:avLst/>
          </a:prstGeom>
          <a:noFill/>
          <a:ln w="38100" cap="flat" cmpd="sng" algn="ctr">
            <a:solidFill>
              <a:srgbClr val="FC7100"/>
            </a:solidFill>
            <a:prstDash val="solid"/>
          </a:ln>
          <a:effectLst/>
        </p:spPr>
      </p:cxnSp>
      <p:pic>
        <p:nvPicPr>
          <p:cNvPr id="150" name="Picture 149" descr="C:\Users\92679\Desktop\branding\company logo\SEC logo Horizontal\الشعار مع الهتاف الاعلاني1.jpeg.png">
            <a:extLst>
              <a:ext uri="{FF2B5EF4-FFF2-40B4-BE49-F238E27FC236}">
                <a16:creationId xmlns:a16="http://schemas.microsoft.com/office/drawing/2014/main" id="{F1894AE6-66DE-4184-B99F-8486DFDCAD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151" y="6472119"/>
            <a:ext cx="1171612" cy="36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962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85" r:id="rId18"/>
    <p:sldLayoutId id="2147483686" r:id="rId19"/>
    <p:sldLayoutId id="2147483687" r:id="rId20"/>
    <p:sldLayoutId id="2147483688" r:id="rId21"/>
  </p:sldLayoutIdLst>
  <p:txStyles>
    <p:titleStyle>
      <a:lvl1pPr algn="l" defTabSz="914034" rtl="0" eaLnBrk="1" latinLnBrk="0" hangingPunct="1">
        <a:lnSpc>
          <a:spcPct val="100000"/>
        </a:lnSpc>
        <a:spcBef>
          <a:spcPct val="0"/>
        </a:spcBef>
        <a:buNone/>
        <a:defRPr lang="en-US" sz="2499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034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599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509" indent="-228509" algn="l" defTabSz="91403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599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736" indent="-210228" algn="l" defTabSz="91403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599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122" indent="-155386" algn="l" defTabSz="91403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599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490" indent="-146245" algn="l" defTabSz="91403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599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416" indent="-171381" algn="l" defTabSz="91403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59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416" indent="-171381" algn="l" defTabSz="91403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59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416" indent="-171381" algn="l" defTabSz="91403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59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416" indent="-171381" algn="l" defTabSz="91403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59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03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17" algn="l" defTabSz="91403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034" algn="l" defTabSz="91403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051" algn="l" defTabSz="91403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068" algn="l" defTabSz="91403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086" algn="l" defTabSz="91403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103" algn="l" defTabSz="91403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120" algn="l" defTabSz="91403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137" algn="l" defTabSz="91403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0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953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3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2488" y="1375156"/>
            <a:ext cx="4897801" cy="46187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5976435" y="6680892"/>
            <a:ext cx="234369" cy="127029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3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3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algn="ctr"/>
            <a:endParaRPr lang="en-US" sz="9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489" y="162037"/>
            <a:ext cx="11063738" cy="831793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pic>
        <p:nvPicPr>
          <p:cNvPr id="1053" name="Picture 29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0006" y="5321399"/>
            <a:ext cx="1027322" cy="1554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1" name="Straight Connector 10"/>
          <p:cNvCxnSpPr/>
          <p:nvPr userDrawn="1"/>
        </p:nvCxnSpPr>
        <p:spPr>
          <a:xfrm flipV="1">
            <a:off x="564101" y="1024128"/>
            <a:ext cx="5751466" cy="16939"/>
          </a:xfrm>
          <a:prstGeom prst="line">
            <a:avLst/>
          </a:prstGeom>
          <a:noFill/>
          <a:ln w="38100" cap="flat" cmpd="sng" algn="ctr">
            <a:solidFill>
              <a:srgbClr val="FC7100"/>
            </a:solidFill>
            <a:prstDash val="solid"/>
          </a:ln>
          <a:effectLst/>
        </p:spPr>
      </p:cxnSp>
      <p:pic>
        <p:nvPicPr>
          <p:cNvPr id="34" name="Picture 33" descr="C:\Users\92679\Desktop\branding\company logo\SEC logo Horizontal\الشعار مع الهتاف الاعلاني1.jpeg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151" y="6472119"/>
            <a:ext cx="1171612" cy="36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1453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6" r:id="rId7"/>
    <p:sldLayoutId id="2147483707" r:id="rId8"/>
  </p:sldLayoutIdLst>
  <p:hf hdr="0" ftr="0" dt="0"/>
  <p:txStyles>
    <p:titleStyle>
      <a:lvl1pPr algn="l" defTabSz="914308" rtl="0" eaLnBrk="1" latinLnBrk="0" hangingPunct="1">
        <a:spcBef>
          <a:spcPct val="0"/>
        </a:spcBef>
        <a:buNone/>
        <a:defRPr lang="en-US" sz="2800" b="1" kern="1200" noProof="0" dirty="0">
          <a:solidFill>
            <a:srgbClr val="1C479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08" rtl="0" eaLnBrk="1" latinLnBrk="0" hangingPunct="1">
        <a:spcBef>
          <a:spcPct val="20000"/>
        </a:spcBef>
        <a:buFontTx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indent="-228578" algn="l" defTabSz="914308" rtl="0" eaLnBrk="1" latinLnBrk="0" hangingPunct="1">
        <a:spcBef>
          <a:spcPct val="20000"/>
        </a:spcBef>
        <a:buClrTx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8" indent="-228578" algn="l" defTabSz="914308" rtl="0" eaLnBrk="1" latinLnBrk="0" hangingPunct="1">
        <a:spcBef>
          <a:spcPct val="20000"/>
        </a:spcBef>
        <a:buClrTx/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225" indent="-233339" algn="l" defTabSz="914308" rtl="0" eaLnBrk="1" latinLnBrk="0" hangingPunct="1">
        <a:spcBef>
          <a:spcPct val="20000"/>
        </a:spcBef>
        <a:buClrTx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782" indent="-230165" algn="l" defTabSz="914308" rtl="0" eaLnBrk="1" latinLnBrk="0" hangingPunct="1">
        <a:spcBef>
          <a:spcPct val="20000"/>
        </a:spcBef>
        <a:buClrTx/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8" indent="-228578" algn="l" defTabSz="9143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9143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8" algn="l" defTabSz="9143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8" algn="l" defTabSz="9143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8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5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9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413" imgH="416" progId="TCLayout.ActiveDocument.1">
                  <p:embed/>
                </p:oleObj>
              </mc:Choice>
              <mc:Fallback>
                <p:oleObj name="think-cell Slide" r:id="rId4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1"/>
            <a:ext cx="158688" cy="15878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8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757" y="6096365"/>
            <a:ext cx="7275781" cy="12314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800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520" y="247996"/>
            <a:ext cx="11078199" cy="73168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1" y="0"/>
            <a:ext cx="12185715" cy="6859588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2098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1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519" y="1403929"/>
            <a:ext cx="450268" cy="12314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800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985401" y="2171304"/>
            <a:ext cx="3048062" cy="5695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598" dirty="0"/>
              <a:t>Above Chart Exhibit Title</a:t>
            </a:r>
          </a:p>
          <a:p>
            <a:pPr lvl="0"/>
            <a:r>
              <a:rPr lang="en-US" sz="1598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521" y="2171303"/>
            <a:ext cx="2483685" cy="16315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B90C1B8-142B-48AA-B35B-6F227EFF7F97}"/>
              </a:ext>
            </a:extLst>
          </p:cNvPr>
          <p:cNvGrpSpPr/>
          <p:nvPr userDrawn="1"/>
        </p:nvGrpSpPr>
        <p:grpSpPr>
          <a:xfrm>
            <a:off x="10313274" y="3150952"/>
            <a:ext cx="1319444" cy="958508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CDC4A11C-F5CF-46ED-932E-4EDF3629439B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8" dirty="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EE1A9B53-2BEB-462E-8F61-AF7114CD454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8" dirty="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29721D8F-5CC9-4AE2-AA82-1C324A82DA51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8" dirty="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E33EFEF5-1407-4A47-9ABF-82B96BEACED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398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EB9CF9D1-1C34-40A4-BA2D-E4C5444CE28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398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FA87764A-492F-4DD7-AFC9-4310E79A5D9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398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C47A91D0-C224-4F09-AC81-83174C279BAD}"/>
              </a:ext>
            </a:extLst>
          </p:cNvPr>
          <p:cNvGrpSpPr/>
          <p:nvPr userDrawn="1"/>
        </p:nvGrpSpPr>
        <p:grpSpPr>
          <a:xfrm>
            <a:off x="10684142" y="1145640"/>
            <a:ext cx="948578" cy="1732260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49111644-96D9-454D-8E8E-58D648BE710D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8" dirty="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76EEA138-C20D-4CC8-9DCA-C9F4DAB2C8EA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8" dirty="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C5145B83-8454-41C7-9EBB-7B971071EF0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8" dirty="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9224ECC4-3B06-4A43-A577-8991F92E9443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8" dirty="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57558493-2D97-4530-A3BA-B85F7F64E441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8" dirty="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F9E15DB7-674B-44A4-BEBE-698067FEE68D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933026A7-336E-441F-985E-2BC271C73361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9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92461D4F-B666-4304-BA9C-433AFC183E56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98" dirty="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C5F2AA22-A1BD-4BF6-A0E1-5A77A72DD68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28759FA4-6B5E-474D-B814-633AA5DE6CB8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9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3F3DDA3-7CB9-4AAE-AF09-EE8A7C7628E2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98" dirty="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AA1D7889-019D-4BB0-BAC3-389F73825505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91C94E41-BAA1-43DF-8223-87CCB341D046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9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AE91347A-A856-4771-9145-A45A853F6C55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98" dirty="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7A3B359A-2ABA-46EA-9C17-D05CD5100B2F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60499390-12EC-4266-A673-BA5473B9F55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9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D8E76C7D-8CE9-451D-964B-D2D37E44DD2B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98" dirty="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C75804D1-3867-48B4-8B7B-8C07800B511B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679C4E02-AFF2-4464-BDF2-F60A5D0E293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9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E13F367E-7225-4962-9451-B9867766F725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98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2520033-3AB3-4CC2-8BF2-E7B90FCC4017}"/>
              </a:ext>
            </a:extLst>
          </p:cNvPr>
          <p:cNvGrpSpPr/>
          <p:nvPr userDrawn="1"/>
        </p:nvGrpSpPr>
        <p:grpSpPr>
          <a:xfrm>
            <a:off x="10710617" y="4382514"/>
            <a:ext cx="922103" cy="1717680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6E1D932A-9A7C-4D97-9149-02F06672FB7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98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D3397951-0E68-421D-A856-3866716F702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98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16713F3F-BC48-4D39-9E55-752B7306B006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98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8DA9B2CE-E17B-432C-8718-741823C7BD37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98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FBF5EEE5-C63F-4560-97A2-A6F388E3850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98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330E8172-1E74-44BA-A09C-5A3FE00106A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8" dirty="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8C8F5FB0-EEE3-426A-B787-4D9D945B435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8" dirty="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69A19859-22F3-4513-A332-E0C187E94C8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8" dirty="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212B57BB-C0D6-4F8E-881F-B88CEBD18EE5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8" dirty="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6327DAF-4B59-49D5-A3FB-F107A009DF9F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398" dirty="0"/>
                <a:t>Legend</a:t>
              </a:r>
            </a:p>
          </p:txBody>
        </p:sp>
      </p:grpSp>
      <p:pic>
        <p:nvPicPr>
          <p:cNvPr id="148" name="Picture 29">
            <a:extLst>
              <a:ext uri="{FF2B5EF4-FFF2-40B4-BE49-F238E27FC236}">
                <a16:creationId xmlns:a16="http://schemas.microsoft.com/office/drawing/2014/main" id="{726560B6-A688-4AA8-94DE-04D11879154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80007" y="5321400"/>
            <a:ext cx="1027322" cy="1554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DFA1BAE7-3E1C-4ACD-85EB-DA1BAC1E798F}"/>
              </a:ext>
            </a:extLst>
          </p:cNvPr>
          <p:cNvCxnSpPr/>
          <p:nvPr userDrawn="1"/>
        </p:nvCxnSpPr>
        <p:spPr>
          <a:xfrm flipV="1">
            <a:off x="564102" y="1024129"/>
            <a:ext cx="5751466" cy="16939"/>
          </a:xfrm>
          <a:prstGeom prst="line">
            <a:avLst/>
          </a:prstGeom>
          <a:noFill/>
          <a:ln w="38100" cap="flat" cmpd="sng" algn="ctr">
            <a:solidFill>
              <a:srgbClr val="FC7100"/>
            </a:solidFill>
            <a:prstDash val="solid"/>
          </a:ln>
          <a:effectLst/>
        </p:spPr>
      </p:cxnSp>
      <p:pic>
        <p:nvPicPr>
          <p:cNvPr id="150" name="Picture 149" descr="C:\Users\92679\Desktop\branding\company logo\SEC logo Horizontal\الشعار مع الهتاف الاعلاني1.jpeg.png">
            <a:extLst>
              <a:ext uri="{FF2B5EF4-FFF2-40B4-BE49-F238E27FC236}">
                <a16:creationId xmlns:a16="http://schemas.microsoft.com/office/drawing/2014/main" id="{F1894AE6-66DE-4184-B99F-8486DFDCAD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151" y="6472119"/>
            <a:ext cx="1171612" cy="36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3672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  <p:sldLayoutId id="2147483926" r:id="rId12"/>
    <p:sldLayoutId id="2147483927" r:id="rId13"/>
    <p:sldLayoutId id="2147483928" r:id="rId14"/>
    <p:sldLayoutId id="2147483929" r:id="rId15"/>
    <p:sldLayoutId id="2147483930" r:id="rId16"/>
    <p:sldLayoutId id="2147483931" r:id="rId17"/>
    <p:sldLayoutId id="2147483932" r:id="rId18"/>
    <p:sldLayoutId id="2147483933" r:id="rId19"/>
    <p:sldLayoutId id="2147483934" r:id="rId20"/>
    <p:sldLayoutId id="2147483935" r:id="rId21"/>
  </p:sldLayoutIdLst>
  <p:txStyles>
    <p:titleStyle>
      <a:lvl1pPr algn="l" defTabSz="913485" rtl="0" eaLnBrk="1" latinLnBrk="0" hangingPunct="1">
        <a:lnSpc>
          <a:spcPct val="100000"/>
        </a:lnSpc>
        <a:spcBef>
          <a:spcPct val="0"/>
        </a:spcBef>
        <a:buNone/>
        <a:defRPr lang="en-US" sz="2498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3485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598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372" indent="-228372" algn="l" defTabSz="913485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598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473" indent="-210102" algn="l" defTabSz="913485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598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3765" indent="-155293" algn="l" defTabSz="913485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598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002" indent="-146158" algn="l" defTabSz="913485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598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4765" indent="-171278" algn="l" defTabSz="913485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59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4765" indent="-171278" algn="l" defTabSz="913485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59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4765" indent="-171278" algn="l" defTabSz="913485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59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4765" indent="-171278" algn="l" defTabSz="913485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59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3485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5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5" algn="l" defTabSz="913485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5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1" algn="l" defTabSz="913485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5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8" algn="l" defTabSz="913485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5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4" algn="l" defTabSz="913485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0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3.xml"/><Relationship Id="rId1" Type="http://schemas.openxmlformats.org/officeDocument/2006/relationships/tags" Target="../tags/tag34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59087" y="2814818"/>
            <a:ext cx="10359152" cy="1470365"/>
          </a:xfrm>
        </p:spPr>
        <p:txBody>
          <a:bodyPr/>
          <a:lstStyle/>
          <a:p>
            <a:pPr algn="ctr"/>
            <a:r>
              <a:rPr lang="ar-SA" dirty="0">
                <a:solidFill>
                  <a:schemeClr val="accent2"/>
                </a:solidFill>
                <a:latin typeface="EG SS TWO LIGHT"/>
              </a:rPr>
              <a:t>دعم إدارة الاداء</a:t>
            </a:r>
            <a:endParaRPr lang="en-US" dirty="0">
              <a:solidFill>
                <a:schemeClr val="accent2"/>
              </a:solidFill>
              <a:latin typeface="EG SS TWO LIGH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41769" y="1980993"/>
            <a:ext cx="1479892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b="1" dirty="0">
                <a:solidFill>
                  <a:srgbClr val="E46C0A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202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612328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7">
            <a:extLst>
              <a:ext uri="{FF2B5EF4-FFF2-40B4-BE49-F238E27FC236}">
                <a16:creationId xmlns:a16="http://schemas.microsoft.com/office/drawing/2014/main" id="{0B69202B-7818-BF7F-6100-7928529A9364}"/>
              </a:ext>
            </a:extLst>
          </p:cNvPr>
          <p:cNvSpPr/>
          <p:nvPr/>
        </p:nvSpPr>
        <p:spPr>
          <a:xfrm>
            <a:off x="476995" y="1269554"/>
            <a:ext cx="8640960" cy="4501657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pic>
        <p:nvPicPr>
          <p:cNvPr id="2" name="صورة 1">
            <a:extLst>
              <a:ext uri="{FF2B5EF4-FFF2-40B4-BE49-F238E27FC236}">
                <a16:creationId xmlns:a16="http://schemas.microsoft.com/office/drawing/2014/main" id="{F884C81A-4EF9-9A06-B010-F6703292428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914" t="7984" r="3322" b="14604"/>
          <a:stretch/>
        </p:blipFill>
        <p:spPr>
          <a:xfrm>
            <a:off x="518879" y="1269554"/>
            <a:ext cx="8549430" cy="4501657"/>
          </a:xfrm>
          <a:prstGeom prst="rect">
            <a:avLst/>
          </a:prstGeom>
        </p:spPr>
      </p:pic>
      <p:sp>
        <p:nvSpPr>
          <p:cNvPr id="7" name="مستطيل 6">
            <a:extLst>
              <a:ext uri="{FF2B5EF4-FFF2-40B4-BE49-F238E27FC236}">
                <a16:creationId xmlns:a16="http://schemas.microsoft.com/office/drawing/2014/main" id="{45855E89-8401-1F1B-E442-EAC9F422CBD1}"/>
              </a:ext>
            </a:extLst>
          </p:cNvPr>
          <p:cNvSpPr/>
          <p:nvPr/>
        </p:nvSpPr>
        <p:spPr>
          <a:xfrm>
            <a:off x="5374788" y="3608393"/>
            <a:ext cx="864096" cy="397201"/>
          </a:xfrm>
          <a:prstGeom prst="rect">
            <a:avLst/>
          </a:prstGeom>
          <a:noFill/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ar-SA" sz="1400" dirty="0" err="1">
              <a:solidFill>
                <a:schemeClr val="tx1"/>
              </a:solidFill>
            </a:endParaRPr>
          </a:p>
        </p:txBody>
      </p:sp>
      <p:sp>
        <p:nvSpPr>
          <p:cNvPr id="8" name="فقاعة الكلام: مستطيلة 7">
            <a:extLst>
              <a:ext uri="{FF2B5EF4-FFF2-40B4-BE49-F238E27FC236}">
                <a16:creationId xmlns:a16="http://schemas.microsoft.com/office/drawing/2014/main" id="{5D67948F-35E0-7940-3AED-1883E2EDF53F}"/>
              </a:ext>
            </a:extLst>
          </p:cNvPr>
          <p:cNvSpPr/>
          <p:nvPr/>
        </p:nvSpPr>
        <p:spPr>
          <a:xfrm>
            <a:off x="5373539" y="2907157"/>
            <a:ext cx="1656184" cy="613225"/>
          </a:xfrm>
          <a:prstGeom prst="wedgeRectCallout">
            <a:avLst/>
          </a:prstGeom>
          <a:solidFill>
            <a:schemeClr val="bg2"/>
          </a:solidFill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200" b="1" dirty="0">
                <a:solidFill>
                  <a:schemeClr val="accent1">
                    <a:lumMod val="50000"/>
                  </a:schemeClr>
                </a:solidFill>
              </a:rPr>
              <a:t>يقوم مقدم الطلب بإدخال الاسم</a:t>
            </a:r>
          </a:p>
        </p:txBody>
      </p:sp>
    </p:spTree>
    <p:extLst>
      <p:ext uri="{BB962C8B-B14F-4D97-AF65-F5344CB8AC3E}">
        <p14:creationId xmlns:p14="http://schemas.microsoft.com/office/powerpoint/2010/main" val="11403075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7">
            <a:extLst>
              <a:ext uri="{FF2B5EF4-FFF2-40B4-BE49-F238E27FC236}">
                <a16:creationId xmlns:a16="http://schemas.microsoft.com/office/drawing/2014/main" id="{0B69202B-7818-BF7F-6100-7928529A9364}"/>
              </a:ext>
            </a:extLst>
          </p:cNvPr>
          <p:cNvSpPr/>
          <p:nvPr/>
        </p:nvSpPr>
        <p:spPr>
          <a:xfrm>
            <a:off x="476995" y="1269554"/>
            <a:ext cx="8640960" cy="4501657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pic>
        <p:nvPicPr>
          <p:cNvPr id="4" name="صورة 3">
            <a:extLst>
              <a:ext uri="{FF2B5EF4-FFF2-40B4-BE49-F238E27FC236}">
                <a16:creationId xmlns:a16="http://schemas.microsoft.com/office/drawing/2014/main" id="{C56740E6-E3F5-4188-2E7C-4602A01E993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914" t="7984" r="3322" b="14604"/>
          <a:stretch/>
        </p:blipFill>
        <p:spPr>
          <a:xfrm>
            <a:off x="476995" y="1269554"/>
            <a:ext cx="8640960" cy="4501657"/>
          </a:xfrm>
          <a:prstGeom prst="rect">
            <a:avLst/>
          </a:prstGeom>
        </p:spPr>
      </p:pic>
      <p:sp>
        <p:nvSpPr>
          <p:cNvPr id="7" name="فقاعة الكلام: مستطيلة 6">
            <a:extLst>
              <a:ext uri="{FF2B5EF4-FFF2-40B4-BE49-F238E27FC236}">
                <a16:creationId xmlns:a16="http://schemas.microsoft.com/office/drawing/2014/main" id="{71C513B7-1DEC-C1E9-1983-00963709EEF5}"/>
              </a:ext>
            </a:extLst>
          </p:cNvPr>
          <p:cNvSpPr/>
          <p:nvPr/>
        </p:nvSpPr>
        <p:spPr>
          <a:xfrm>
            <a:off x="5373539" y="3213769"/>
            <a:ext cx="1656184" cy="613225"/>
          </a:xfrm>
          <a:prstGeom prst="wedgeRectCallout">
            <a:avLst/>
          </a:prstGeom>
          <a:solidFill>
            <a:schemeClr val="bg2"/>
          </a:solidFill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200" b="1" dirty="0">
                <a:solidFill>
                  <a:schemeClr val="accent1">
                    <a:lumMod val="50000"/>
                  </a:schemeClr>
                </a:solidFill>
              </a:rPr>
              <a:t>يقوم مقدم الطلب بإدخال الرقم الوظيفي</a:t>
            </a:r>
          </a:p>
        </p:txBody>
      </p:sp>
      <p:sp>
        <p:nvSpPr>
          <p:cNvPr id="8" name="مستطيل 7">
            <a:extLst>
              <a:ext uri="{FF2B5EF4-FFF2-40B4-BE49-F238E27FC236}">
                <a16:creationId xmlns:a16="http://schemas.microsoft.com/office/drawing/2014/main" id="{FD93848D-1013-6A20-74E8-82028D5B150E}"/>
              </a:ext>
            </a:extLst>
          </p:cNvPr>
          <p:cNvSpPr/>
          <p:nvPr/>
        </p:nvSpPr>
        <p:spPr>
          <a:xfrm>
            <a:off x="5337535" y="3971011"/>
            <a:ext cx="864096" cy="397201"/>
          </a:xfrm>
          <a:prstGeom prst="rect">
            <a:avLst/>
          </a:prstGeom>
          <a:noFill/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ar-SA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6892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7">
            <a:extLst>
              <a:ext uri="{FF2B5EF4-FFF2-40B4-BE49-F238E27FC236}">
                <a16:creationId xmlns:a16="http://schemas.microsoft.com/office/drawing/2014/main" id="{0B69202B-7818-BF7F-6100-7928529A9364}"/>
              </a:ext>
            </a:extLst>
          </p:cNvPr>
          <p:cNvSpPr/>
          <p:nvPr/>
        </p:nvSpPr>
        <p:spPr>
          <a:xfrm>
            <a:off x="476995" y="1269554"/>
            <a:ext cx="8640960" cy="4501657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pic>
        <p:nvPicPr>
          <p:cNvPr id="4" name="صورة 3">
            <a:extLst>
              <a:ext uri="{FF2B5EF4-FFF2-40B4-BE49-F238E27FC236}">
                <a16:creationId xmlns:a16="http://schemas.microsoft.com/office/drawing/2014/main" id="{70AA43D8-14BE-929E-2F81-ABA097A4EAC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914" t="7984" r="3322" b="14604"/>
          <a:stretch/>
        </p:blipFill>
        <p:spPr>
          <a:xfrm>
            <a:off x="476995" y="1269554"/>
            <a:ext cx="8640960" cy="4501657"/>
          </a:xfrm>
          <a:prstGeom prst="rect">
            <a:avLst/>
          </a:prstGeom>
        </p:spPr>
      </p:pic>
      <p:sp>
        <p:nvSpPr>
          <p:cNvPr id="7" name="فقاعة الكلام: مستطيلة 6">
            <a:extLst>
              <a:ext uri="{FF2B5EF4-FFF2-40B4-BE49-F238E27FC236}">
                <a16:creationId xmlns:a16="http://schemas.microsoft.com/office/drawing/2014/main" id="{C5AC619A-39CD-E8B6-077C-1B0A3495D2FE}"/>
              </a:ext>
            </a:extLst>
          </p:cNvPr>
          <p:cNvSpPr/>
          <p:nvPr/>
        </p:nvSpPr>
        <p:spPr>
          <a:xfrm>
            <a:off x="5445547" y="3717826"/>
            <a:ext cx="1656184" cy="613225"/>
          </a:xfrm>
          <a:prstGeom prst="wedgeRectCallout">
            <a:avLst/>
          </a:prstGeom>
          <a:solidFill>
            <a:schemeClr val="bg2"/>
          </a:solidFill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200" b="1" dirty="0">
                <a:solidFill>
                  <a:schemeClr val="accent1">
                    <a:lumMod val="50000"/>
                  </a:schemeClr>
                </a:solidFill>
              </a:rPr>
              <a:t>يقوم مقدم  الطلب </a:t>
            </a:r>
            <a:r>
              <a:rPr lang="ar-SA" sz="1200" b="1" dirty="0" err="1">
                <a:solidFill>
                  <a:schemeClr val="accent1">
                    <a:lumMod val="50000"/>
                  </a:schemeClr>
                </a:solidFill>
              </a:rPr>
              <a:t>بإختيار</a:t>
            </a:r>
            <a:r>
              <a:rPr lang="ar-SA" sz="1200" b="1" dirty="0">
                <a:solidFill>
                  <a:schemeClr val="accent1">
                    <a:lumMod val="50000"/>
                  </a:schemeClr>
                </a:solidFill>
              </a:rPr>
              <a:t> اسم النشاط</a:t>
            </a:r>
          </a:p>
        </p:txBody>
      </p:sp>
      <p:sp>
        <p:nvSpPr>
          <p:cNvPr id="8" name="مستطيل 7">
            <a:extLst>
              <a:ext uri="{FF2B5EF4-FFF2-40B4-BE49-F238E27FC236}">
                <a16:creationId xmlns:a16="http://schemas.microsoft.com/office/drawing/2014/main" id="{76949C5B-A126-EA41-0E4F-3EFE9E15A607}"/>
              </a:ext>
            </a:extLst>
          </p:cNvPr>
          <p:cNvSpPr/>
          <p:nvPr/>
        </p:nvSpPr>
        <p:spPr>
          <a:xfrm>
            <a:off x="5445547" y="4427444"/>
            <a:ext cx="828092" cy="397201"/>
          </a:xfrm>
          <a:prstGeom prst="rect">
            <a:avLst/>
          </a:prstGeom>
          <a:noFill/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ar-SA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57786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7">
            <a:extLst>
              <a:ext uri="{FF2B5EF4-FFF2-40B4-BE49-F238E27FC236}">
                <a16:creationId xmlns:a16="http://schemas.microsoft.com/office/drawing/2014/main" id="{0B69202B-7818-BF7F-6100-7928529A9364}"/>
              </a:ext>
            </a:extLst>
          </p:cNvPr>
          <p:cNvSpPr/>
          <p:nvPr/>
        </p:nvSpPr>
        <p:spPr>
          <a:xfrm>
            <a:off x="476995" y="1269554"/>
            <a:ext cx="8640960" cy="4501657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pic>
        <p:nvPicPr>
          <p:cNvPr id="5" name="صورة 4">
            <a:extLst>
              <a:ext uri="{FF2B5EF4-FFF2-40B4-BE49-F238E27FC236}">
                <a16:creationId xmlns:a16="http://schemas.microsoft.com/office/drawing/2014/main" id="{FCEBF378-19CF-CCF4-0D06-4A5211C3B6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914" t="7983" r="3322" b="15846"/>
          <a:stretch/>
        </p:blipFill>
        <p:spPr>
          <a:xfrm>
            <a:off x="476995" y="1269554"/>
            <a:ext cx="8640960" cy="4501657"/>
          </a:xfrm>
          <a:prstGeom prst="rect">
            <a:avLst/>
          </a:prstGeom>
        </p:spPr>
      </p:pic>
      <p:sp>
        <p:nvSpPr>
          <p:cNvPr id="9" name="فقاعة الكلام: مستطيلة 8">
            <a:extLst>
              <a:ext uri="{FF2B5EF4-FFF2-40B4-BE49-F238E27FC236}">
                <a16:creationId xmlns:a16="http://schemas.microsoft.com/office/drawing/2014/main" id="{36EFA740-FE8C-4D78-1463-DC54B7CDD752}"/>
              </a:ext>
            </a:extLst>
          </p:cNvPr>
          <p:cNvSpPr/>
          <p:nvPr/>
        </p:nvSpPr>
        <p:spPr>
          <a:xfrm>
            <a:off x="4941491" y="1701602"/>
            <a:ext cx="1656184" cy="613225"/>
          </a:xfrm>
          <a:prstGeom prst="wedgeRectCallout">
            <a:avLst/>
          </a:prstGeom>
          <a:solidFill>
            <a:schemeClr val="bg2"/>
          </a:solidFill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200" b="1" dirty="0">
                <a:solidFill>
                  <a:schemeClr val="accent1">
                    <a:lumMod val="50000"/>
                  </a:schemeClr>
                </a:solidFill>
              </a:rPr>
              <a:t>قائمة تحتوي على جميع الأنشطة </a:t>
            </a:r>
          </a:p>
        </p:txBody>
      </p:sp>
    </p:spTree>
    <p:extLst>
      <p:ext uri="{BB962C8B-B14F-4D97-AF65-F5344CB8AC3E}">
        <p14:creationId xmlns:p14="http://schemas.microsoft.com/office/powerpoint/2010/main" val="204009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7">
            <a:extLst>
              <a:ext uri="{FF2B5EF4-FFF2-40B4-BE49-F238E27FC236}">
                <a16:creationId xmlns:a16="http://schemas.microsoft.com/office/drawing/2014/main" id="{0B69202B-7818-BF7F-6100-7928529A9364}"/>
              </a:ext>
            </a:extLst>
          </p:cNvPr>
          <p:cNvSpPr/>
          <p:nvPr/>
        </p:nvSpPr>
        <p:spPr>
          <a:xfrm>
            <a:off x="476995" y="1269554"/>
            <a:ext cx="8640960" cy="4501657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pic>
        <p:nvPicPr>
          <p:cNvPr id="4" name="صورة 3">
            <a:extLst>
              <a:ext uri="{FF2B5EF4-FFF2-40B4-BE49-F238E27FC236}">
                <a16:creationId xmlns:a16="http://schemas.microsoft.com/office/drawing/2014/main" id="{E2852023-5A09-2EEB-454E-E2EAD9E71E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914" t="7984" r="3322" b="14604"/>
          <a:stretch/>
        </p:blipFill>
        <p:spPr>
          <a:xfrm>
            <a:off x="549003" y="1269554"/>
            <a:ext cx="8568952" cy="4501657"/>
          </a:xfrm>
          <a:prstGeom prst="rect">
            <a:avLst/>
          </a:prstGeom>
        </p:spPr>
      </p:pic>
      <p:sp>
        <p:nvSpPr>
          <p:cNvPr id="7" name="فقاعة الكلام: مستطيلة 6">
            <a:extLst>
              <a:ext uri="{FF2B5EF4-FFF2-40B4-BE49-F238E27FC236}">
                <a16:creationId xmlns:a16="http://schemas.microsoft.com/office/drawing/2014/main" id="{A49F088C-3D7C-2B5C-40C8-D1A925B6199D}"/>
              </a:ext>
            </a:extLst>
          </p:cNvPr>
          <p:cNvSpPr/>
          <p:nvPr/>
        </p:nvSpPr>
        <p:spPr>
          <a:xfrm>
            <a:off x="5373539" y="4074982"/>
            <a:ext cx="1656184" cy="613225"/>
          </a:xfrm>
          <a:prstGeom prst="wedgeRectCallout">
            <a:avLst/>
          </a:prstGeom>
          <a:solidFill>
            <a:schemeClr val="bg2"/>
          </a:solidFill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200" b="1" dirty="0">
                <a:solidFill>
                  <a:schemeClr val="accent1">
                    <a:lumMod val="50000"/>
                  </a:schemeClr>
                </a:solidFill>
              </a:rPr>
              <a:t>يقوم مقدم  الطلب بإدخال رقم مركز المسؤولية</a:t>
            </a:r>
          </a:p>
        </p:txBody>
      </p:sp>
      <p:sp>
        <p:nvSpPr>
          <p:cNvPr id="8" name="مستطيل 7">
            <a:extLst>
              <a:ext uri="{FF2B5EF4-FFF2-40B4-BE49-F238E27FC236}">
                <a16:creationId xmlns:a16="http://schemas.microsoft.com/office/drawing/2014/main" id="{A2CA653D-DDC3-9A2D-076F-8A4E6CD091D5}"/>
              </a:ext>
            </a:extLst>
          </p:cNvPr>
          <p:cNvSpPr/>
          <p:nvPr/>
        </p:nvSpPr>
        <p:spPr>
          <a:xfrm>
            <a:off x="5337535" y="4797946"/>
            <a:ext cx="864096" cy="397201"/>
          </a:xfrm>
          <a:prstGeom prst="rect">
            <a:avLst/>
          </a:prstGeom>
          <a:noFill/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ar-SA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946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7">
            <a:extLst>
              <a:ext uri="{FF2B5EF4-FFF2-40B4-BE49-F238E27FC236}">
                <a16:creationId xmlns:a16="http://schemas.microsoft.com/office/drawing/2014/main" id="{0B69202B-7818-BF7F-6100-7928529A9364}"/>
              </a:ext>
            </a:extLst>
          </p:cNvPr>
          <p:cNvSpPr/>
          <p:nvPr/>
        </p:nvSpPr>
        <p:spPr>
          <a:xfrm>
            <a:off x="476995" y="1269554"/>
            <a:ext cx="8640960" cy="4501657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pic>
        <p:nvPicPr>
          <p:cNvPr id="4" name="صورة 3">
            <a:extLst>
              <a:ext uri="{FF2B5EF4-FFF2-40B4-BE49-F238E27FC236}">
                <a16:creationId xmlns:a16="http://schemas.microsoft.com/office/drawing/2014/main" id="{CA8C3A4D-ABD4-316F-1B7B-C257B95CB92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914" t="7984" r="3322" b="14604"/>
          <a:stretch/>
        </p:blipFill>
        <p:spPr>
          <a:xfrm>
            <a:off x="476995" y="1269554"/>
            <a:ext cx="8640960" cy="4448230"/>
          </a:xfrm>
          <a:prstGeom prst="rect">
            <a:avLst/>
          </a:prstGeom>
        </p:spPr>
      </p:pic>
      <p:sp>
        <p:nvSpPr>
          <p:cNvPr id="9" name="فقاعة الكلام: مستطيلة 8">
            <a:extLst>
              <a:ext uri="{FF2B5EF4-FFF2-40B4-BE49-F238E27FC236}">
                <a16:creationId xmlns:a16="http://schemas.microsoft.com/office/drawing/2014/main" id="{1F096304-1F5C-6481-1CE8-59D10AC35BC7}"/>
              </a:ext>
            </a:extLst>
          </p:cNvPr>
          <p:cNvSpPr/>
          <p:nvPr/>
        </p:nvSpPr>
        <p:spPr>
          <a:xfrm>
            <a:off x="4509443" y="4365898"/>
            <a:ext cx="1656184" cy="613225"/>
          </a:xfrm>
          <a:prstGeom prst="wedgeRectCallout">
            <a:avLst/>
          </a:prstGeom>
          <a:solidFill>
            <a:schemeClr val="bg2"/>
          </a:solidFill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200" b="1" dirty="0">
                <a:solidFill>
                  <a:schemeClr val="accent1">
                    <a:lumMod val="50000"/>
                  </a:schemeClr>
                </a:solidFill>
              </a:rPr>
              <a:t>الضغط على ارسال</a:t>
            </a:r>
          </a:p>
        </p:txBody>
      </p:sp>
      <p:sp>
        <p:nvSpPr>
          <p:cNvPr id="10" name="مستطيل 9">
            <a:extLst>
              <a:ext uri="{FF2B5EF4-FFF2-40B4-BE49-F238E27FC236}">
                <a16:creationId xmlns:a16="http://schemas.microsoft.com/office/drawing/2014/main" id="{9DBE0DFB-B8FA-CAFD-6ECA-3887AF1AAD20}"/>
              </a:ext>
            </a:extLst>
          </p:cNvPr>
          <p:cNvSpPr/>
          <p:nvPr/>
        </p:nvSpPr>
        <p:spPr>
          <a:xfrm>
            <a:off x="4365427" y="5148696"/>
            <a:ext cx="864096" cy="397201"/>
          </a:xfrm>
          <a:prstGeom prst="rect">
            <a:avLst/>
          </a:prstGeom>
          <a:noFill/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ar-SA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87463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7">
            <a:extLst>
              <a:ext uri="{FF2B5EF4-FFF2-40B4-BE49-F238E27FC236}">
                <a16:creationId xmlns:a16="http://schemas.microsoft.com/office/drawing/2014/main" id="{0B69202B-7818-BF7F-6100-7928529A9364}"/>
              </a:ext>
            </a:extLst>
          </p:cNvPr>
          <p:cNvSpPr/>
          <p:nvPr/>
        </p:nvSpPr>
        <p:spPr>
          <a:xfrm>
            <a:off x="476995" y="1269554"/>
            <a:ext cx="8640960" cy="4501657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7" name="مربع نص 6">
            <a:extLst>
              <a:ext uri="{FF2B5EF4-FFF2-40B4-BE49-F238E27FC236}">
                <a16:creationId xmlns:a16="http://schemas.microsoft.com/office/drawing/2014/main" id="{D0E8686C-9C33-7D55-6B80-B68F34D531F6}"/>
              </a:ext>
            </a:extLst>
          </p:cNvPr>
          <p:cNvSpPr txBox="1"/>
          <p:nvPr/>
        </p:nvSpPr>
        <p:spPr>
          <a:xfrm>
            <a:off x="2277195" y="406724"/>
            <a:ext cx="4176464" cy="674200"/>
          </a:xfrm>
          <a:prstGeom prst="rect">
            <a:avLst/>
          </a:prstGeom>
          <a:noFill/>
        </p:spPr>
        <p:txBody>
          <a:bodyPr wrap="square" tIns="90000" bIns="90000" rtlCol="1" anchor="t">
            <a:spAutoFit/>
          </a:bodyPr>
          <a:lstStyle/>
          <a:p>
            <a:pPr algn="ctr"/>
            <a:r>
              <a:rPr lang="ar-SA" sz="3200" b="1" dirty="0">
                <a:solidFill>
                  <a:schemeClr val="accent1">
                    <a:lumMod val="50000"/>
                  </a:schemeClr>
                </a:solidFill>
              </a:rPr>
              <a:t>النموذج باللغة </a:t>
            </a:r>
            <a:r>
              <a:rPr lang="ar-SA" sz="32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الانجليزية</a:t>
            </a:r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19840D06-E655-3AA0-8D97-4B4A8D5F62D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914" t="7967" r="3322" b="11315"/>
          <a:stretch/>
        </p:blipFill>
        <p:spPr>
          <a:xfrm>
            <a:off x="476995" y="1269554"/>
            <a:ext cx="8640960" cy="4501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1931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205187" y="1989634"/>
            <a:ext cx="7272808" cy="937173"/>
          </a:xfrm>
        </p:spPr>
        <p:txBody>
          <a:bodyPr/>
          <a:lstStyle/>
          <a:p>
            <a:pPr algn="ctr"/>
            <a:r>
              <a:rPr lang="ar-SA" sz="11500" b="1" dirty="0">
                <a:solidFill>
                  <a:srgbClr val="1C4792"/>
                </a:solidFill>
                <a:latin typeface="Roboto" panose="02000000000000000000" pitchFamily="2" charset="0"/>
                <a:ea typeface="Roboto" panose="02000000000000000000" pitchFamily="2" charset="0"/>
                <a:cs typeface="+mj-cs"/>
                <a:sym typeface="Arial" panose="020B0604020202020204" pitchFamily="34" charset="0"/>
              </a:rPr>
              <a:t>شكراً</a:t>
            </a:r>
            <a:endParaRPr lang="en-US" sz="11500" b="1" dirty="0">
              <a:solidFill>
                <a:srgbClr val="1C4792"/>
              </a:solidFill>
              <a:latin typeface="Roboto" panose="02000000000000000000" pitchFamily="2" charset="0"/>
              <a:ea typeface="Roboto" panose="02000000000000000000" pitchFamily="2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مربع نص 4">
            <a:extLst>
              <a:ext uri="{FF2B5EF4-FFF2-40B4-BE49-F238E27FC236}">
                <a16:creationId xmlns:a16="http://schemas.microsoft.com/office/drawing/2014/main" id="{641B584D-80D2-0593-A802-0A79E32F22E9}"/>
              </a:ext>
            </a:extLst>
          </p:cNvPr>
          <p:cNvSpPr txBox="1"/>
          <p:nvPr/>
        </p:nvSpPr>
        <p:spPr>
          <a:xfrm>
            <a:off x="7029723" y="5662042"/>
            <a:ext cx="4176464" cy="735756"/>
          </a:xfrm>
          <a:prstGeom prst="rect">
            <a:avLst/>
          </a:prstGeom>
          <a:noFill/>
        </p:spPr>
        <p:txBody>
          <a:bodyPr wrap="square" tIns="90000" bIns="90000" rtlCol="1" anchor="t">
            <a:spAutoFit/>
          </a:bodyPr>
          <a:lstStyle/>
          <a:p>
            <a:pPr algn="r"/>
            <a:r>
              <a:rPr lang="ar-SA" sz="1800" b="1" dirty="0">
                <a:solidFill>
                  <a:schemeClr val="accent1">
                    <a:lumMod val="50000"/>
                  </a:schemeClr>
                </a:solidFill>
                <a:cs typeface="+mj-cs"/>
              </a:rPr>
              <a:t>المشرفة : زينب عبدالله الشيخ</a:t>
            </a:r>
          </a:p>
          <a:p>
            <a:pPr algn="r"/>
            <a:r>
              <a:rPr lang="ar-SA" sz="1800" b="1" dirty="0">
                <a:solidFill>
                  <a:schemeClr val="accent1">
                    <a:lumMod val="50000"/>
                  </a:schemeClr>
                </a:solidFill>
                <a:cs typeface="+mj-cs"/>
              </a:rPr>
              <a:t>تنفيذ : زهراء عبدالجليل البراهيم</a:t>
            </a:r>
          </a:p>
        </p:txBody>
      </p:sp>
    </p:spTree>
    <p:extLst>
      <p:ext uri="{BB962C8B-B14F-4D97-AF65-F5344CB8AC3E}">
        <p14:creationId xmlns:p14="http://schemas.microsoft.com/office/powerpoint/2010/main" val="775622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25067" y="1368046"/>
            <a:ext cx="8707646" cy="4123495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0" marR="0" lvl="0" indent="0" algn="ctr" defTabSz="10882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مربع نص 3">
            <a:extLst>
              <a:ext uri="{FF2B5EF4-FFF2-40B4-BE49-F238E27FC236}">
                <a16:creationId xmlns:a16="http://schemas.microsoft.com/office/drawing/2014/main" id="{0367043B-3173-AD64-B927-4431C7917CA6}"/>
              </a:ext>
            </a:extLst>
          </p:cNvPr>
          <p:cNvSpPr txBox="1"/>
          <p:nvPr/>
        </p:nvSpPr>
        <p:spPr>
          <a:xfrm>
            <a:off x="2133179" y="2337186"/>
            <a:ext cx="6476260" cy="21852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ar-SA" sz="3200" dirty="0">
                <a:solidFill>
                  <a:schemeClr val="accent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تواجه</a:t>
            </a:r>
            <a:r>
              <a:rPr lang="ar-SA" sz="4000" dirty="0">
                <a:solidFill>
                  <a:schemeClr val="accent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ar-SA" sz="3200" dirty="0">
                <a:solidFill>
                  <a:schemeClr val="accent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إدارة الأداء صعوبة في  فلترة الطلبات </a:t>
            </a:r>
            <a:r>
              <a:rPr lang="ar-SA" sz="3200" dirty="0">
                <a:solidFill>
                  <a:schemeClr val="accent1">
                    <a:lumMod val="50000"/>
                  </a:schemeClr>
                </a:solidFill>
                <a:latin typeface="EG SS TWO LIGHT"/>
                <a:ea typeface="Roboto" panose="02000000000000000000" pitchFamily="2" charset="0"/>
              </a:rPr>
              <a:t>والوصول اليها وذلك بسبب ارسال البيانات غير كامله من قبل مقدم الطلب مما يؤخر من سير العمل ويقلل من نسبة الانجاز </a:t>
            </a:r>
            <a:r>
              <a:rPr lang="ar-SA" sz="4000" dirty="0">
                <a:solidFill>
                  <a:schemeClr val="accent1">
                    <a:lumMod val="50000"/>
                  </a:schemeClr>
                </a:solidFill>
                <a:latin typeface="EG SS TWO LIGHT"/>
                <a:ea typeface="Roboto" panose="02000000000000000000" pitchFamily="2" charset="0"/>
              </a:rPr>
              <a:t>.</a:t>
            </a:r>
          </a:p>
        </p:txBody>
      </p:sp>
      <p:sp>
        <p:nvSpPr>
          <p:cNvPr id="5" name="مربع نص 4">
            <a:extLst>
              <a:ext uri="{FF2B5EF4-FFF2-40B4-BE49-F238E27FC236}">
                <a16:creationId xmlns:a16="http://schemas.microsoft.com/office/drawing/2014/main" id="{DB4CC0F7-F010-957B-0227-932582FE0679}"/>
              </a:ext>
            </a:extLst>
          </p:cNvPr>
          <p:cNvSpPr txBox="1"/>
          <p:nvPr/>
        </p:nvSpPr>
        <p:spPr>
          <a:xfrm>
            <a:off x="3933379" y="405458"/>
            <a:ext cx="1728192" cy="674200"/>
          </a:xfrm>
          <a:prstGeom prst="rect">
            <a:avLst/>
          </a:prstGeom>
          <a:noFill/>
        </p:spPr>
        <p:txBody>
          <a:bodyPr wrap="square" tIns="90000" bIns="90000" rtlCol="1" anchor="t">
            <a:spAutoFit/>
          </a:bodyPr>
          <a:lstStyle/>
          <a:p>
            <a:pPr algn="ctr"/>
            <a:r>
              <a:rPr lang="ar-SA" sz="3200" b="1" dirty="0">
                <a:solidFill>
                  <a:schemeClr val="accent2"/>
                </a:solidFill>
              </a:rPr>
              <a:t>المشكلة</a:t>
            </a:r>
          </a:p>
        </p:txBody>
      </p:sp>
    </p:spTree>
    <p:extLst>
      <p:ext uri="{BB962C8B-B14F-4D97-AF65-F5344CB8AC3E}">
        <p14:creationId xmlns:p14="http://schemas.microsoft.com/office/powerpoint/2010/main" val="27786459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686470" y="1377566"/>
            <a:ext cx="7848872" cy="4104456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" name="مربع نص 2">
            <a:extLst>
              <a:ext uri="{FF2B5EF4-FFF2-40B4-BE49-F238E27FC236}">
                <a16:creationId xmlns:a16="http://schemas.microsoft.com/office/drawing/2014/main" id="{13527BF0-0309-0F48-CC62-C5B6399A99D1}"/>
              </a:ext>
            </a:extLst>
          </p:cNvPr>
          <p:cNvSpPr txBox="1"/>
          <p:nvPr/>
        </p:nvSpPr>
        <p:spPr>
          <a:xfrm>
            <a:off x="4005387" y="366266"/>
            <a:ext cx="1173471" cy="674200"/>
          </a:xfrm>
          <a:prstGeom prst="rect">
            <a:avLst/>
          </a:prstGeom>
          <a:noFill/>
        </p:spPr>
        <p:txBody>
          <a:bodyPr wrap="square" tIns="90000" bIns="90000" rtlCol="1" anchor="t">
            <a:spAutoFit/>
          </a:bodyPr>
          <a:lstStyle/>
          <a:p>
            <a:pPr algn="ctr"/>
            <a:r>
              <a:rPr lang="ar-SA" sz="32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الحل</a:t>
            </a:r>
          </a:p>
        </p:txBody>
      </p:sp>
      <p:sp>
        <p:nvSpPr>
          <p:cNvPr id="5" name="مربع نص 4">
            <a:extLst>
              <a:ext uri="{FF2B5EF4-FFF2-40B4-BE49-F238E27FC236}">
                <a16:creationId xmlns:a16="http://schemas.microsoft.com/office/drawing/2014/main" id="{924F803B-00AE-8A9B-8461-04C152811519}"/>
              </a:ext>
            </a:extLst>
          </p:cNvPr>
          <p:cNvSpPr txBox="1"/>
          <p:nvPr/>
        </p:nvSpPr>
        <p:spPr>
          <a:xfrm>
            <a:off x="3041920" y="2051766"/>
            <a:ext cx="6103398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ar-SA" sz="3200" dirty="0">
                <a:solidFill>
                  <a:schemeClr val="accent1">
                    <a:lumMod val="50000"/>
                  </a:schemeClr>
                </a:solidFill>
              </a:rPr>
              <a:t>تم</a:t>
            </a:r>
            <a:r>
              <a:rPr lang="ar-SA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ar-SA" sz="3200" dirty="0">
                <a:solidFill>
                  <a:schemeClr val="accent1">
                    <a:lumMod val="50000"/>
                  </a:schemeClr>
                </a:solidFill>
              </a:rPr>
              <a:t>اقتراح عمل نموذج خاص في مهام إدارة الأداء, يضمن ارفاق جميع المتطلبات  المراد تواجدها لإتمام العمل بنجاح .</a:t>
            </a:r>
          </a:p>
          <a:p>
            <a:pPr algn="r"/>
            <a:r>
              <a:rPr lang="ar-SA" sz="3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27673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686470" y="1377566"/>
            <a:ext cx="7848872" cy="4104456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" name="مربع نص 2">
            <a:extLst>
              <a:ext uri="{FF2B5EF4-FFF2-40B4-BE49-F238E27FC236}">
                <a16:creationId xmlns:a16="http://schemas.microsoft.com/office/drawing/2014/main" id="{13527BF0-0309-0F48-CC62-C5B6399A99D1}"/>
              </a:ext>
            </a:extLst>
          </p:cNvPr>
          <p:cNvSpPr txBox="1"/>
          <p:nvPr/>
        </p:nvSpPr>
        <p:spPr>
          <a:xfrm>
            <a:off x="2853259" y="369299"/>
            <a:ext cx="3471044" cy="674200"/>
          </a:xfrm>
          <a:prstGeom prst="rect">
            <a:avLst/>
          </a:prstGeom>
          <a:noFill/>
        </p:spPr>
        <p:txBody>
          <a:bodyPr wrap="square" tIns="90000" bIns="90000" rtlCol="1" anchor="t">
            <a:spAutoFit/>
          </a:bodyPr>
          <a:lstStyle/>
          <a:p>
            <a:pPr algn="ctr"/>
            <a:r>
              <a:rPr lang="ar-SA" sz="32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مميزات النموذج</a:t>
            </a:r>
          </a:p>
        </p:txBody>
      </p:sp>
      <p:sp>
        <p:nvSpPr>
          <p:cNvPr id="5" name="مربع نص 4">
            <a:extLst>
              <a:ext uri="{FF2B5EF4-FFF2-40B4-BE49-F238E27FC236}">
                <a16:creationId xmlns:a16="http://schemas.microsoft.com/office/drawing/2014/main" id="{924F803B-00AE-8A9B-8461-04C152811519}"/>
              </a:ext>
            </a:extLst>
          </p:cNvPr>
          <p:cNvSpPr txBox="1"/>
          <p:nvPr/>
        </p:nvSpPr>
        <p:spPr>
          <a:xfrm>
            <a:off x="3041920" y="2205658"/>
            <a:ext cx="610339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r" rtl="1">
              <a:buFont typeface="+mj-lt"/>
              <a:buAutoNum type="arabicPeriod"/>
            </a:pPr>
            <a:r>
              <a:rPr lang="ar-SA" sz="3200" dirty="0">
                <a:solidFill>
                  <a:schemeClr val="accent1">
                    <a:lumMod val="50000"/>
                  </a:schemeClr>
                </a:solidFill>
                <a:latin typeface="EG SS TWO LIGHT"/>
              </a:rPr>
              <a:t>ترتيب الاولويات .</a:t>
            </a:r>
          </a:p>
          <a:p>
            <a:pPr marL="457200" indent="-457200" algn="r" rtl="1">
              <a:buFont typeface="+mj-lt"/>
              <a:buAutoNum type="arabicPeriod"/>
            </a:pPr>
            <a:r>
              <a:rPr lang="ar-SA" sz="3200" dirty="0">
                <a:solidFill>
                  <a:schemeClr val="accent1">
                    <a:lumMod val="50000"/>
                  </a:schemeClr>
                </a:solidFill>
                <a:latin typeface="EG SS TWO LIGHT"/>
              </a:rPr>
              <a:t>ارتفاع نسبة الإنجاز.</a:t>
            </a:r>
          </a:p>
          <a:p>
            <a:pPr marL="457200" indent="-457200" algn="r" rtl="1">
              <a:buFont typeface="+mj-lt"/>
              <a:buAutoNum type="arabicPeriod"/>
            </a:pPr>
            <a:r>
              <a:rPr lang="ar-SA" sz="3200" dirty="0">
                <a:solidFill>
                  <a:schemeClr val="accent1">
                    <a:lumMod val="50000"/>
                  </a:schemeClr>
                </a:solidFill>
                <a:latin typeface="EG SS TWO LIGHT"/>
              </a:rPr>
              <a:t>يدعم النموذج اللغتين: العربية , الانجليزية. </a:t>
            </a:r>
          </a:p>
        </p:txBody>
      </p:sp>
    </p:spTree>
    <p:extLst>
      <p:ext uri="{BB962C8B-B14F-4D97-AF65-F5344CB8AC3E}">
        <p14:creationId xmlns:p14="http://schemas.microsoft.com/office/powerpoint/2010/main" val="40725266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/>
        </p:nvSpPr>
        <p:spPr>
          <a:xfrm>
            <a:off x="652018" y="1293735"/>
            <a:ext cx="8856984" cy="4683938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C1AF5174-32B3-C84F-2DFD-48E840130C45}"/>
              </a:ext>
            </a:extLst>
          </p:cNvPr>
          <p:cNvSpPr txBox="1"/>
          <p:nvPr/>
        </p:nvSpPr>
        <p:spPr>
          <a:xfrm>
            <a:off x="2997275" y="242527"/>
            <a:ext cx="3163355" cy="674200"/>
          </a:xfrm>
          <a:prstGeom prst="rect">
            <a:avLst/>
          </a:prstGeom>
          <a:solidFill>
            <a:schemeClr val="bg1"/>
          </a:solidFill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ar-SA" sz="3200" b="1" dirty="0">
                <a:solidFill>
                  <a:schemeClr val="accent2"/>
                </a:solidFill>
              </a:rPr>
              <a:t>النموذج باللغة العربية</a:t>
            </a:r>
            <a:endParaRPr lang="en-US" sz="3200" b="1" dirty="0">
              <a:solidFill>
                <a:schemeClr val="accent2"/>
              </a:solidFill>
            </a:endParaRPr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A0CCB0C6-8691-F283-64BD-4FD8A57E75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914" t="7984" r="3322" b="14604"/>
          <a:stretch/>
        </p:blipFill>
        <p:spPr>
          <a:xfrm>
            <a:off x="652019" y="1293735"/>
            <a:ext cx="8856984" cy="4683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1300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476995" y="1269554"/>
            <a:ext cx="8640960" cy="4501657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pic>
        <p:nvPicPr>
          <p:cNvPr id="2" name="صورة 1">
            <a:extLst>
              <a:ext uri="{FF2B5EF4-FFF2-40B4-BE49-F238E27FC236}">
                <a16:creationId xmlns:a16="http://schemas.microsoft.com/office/drawing/2014/main" id="{664C9455-4721-6A4E-2978-69F72D3664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914" t="7984" r="3322" b="14604"/>
          <a:stretch/>
        </p:blipFill>
        <p:spPr>
          <a:xfrm>
            <a:off x="549003" y="1269554"/>
            <a:ext cx="8496944" cy="4501657"/>
          </a:xfrm>
          <a:prstGeom prst="rect">
            <a:avLst/>
          </a:prstGeom>
        </p:spPr>
      </p:pic>
      <p:sp>
        <p:nvSpPr>
          <p:cNvPr id="4" name="فقاعة الكلام: مستطيلة 3">
            <a:extLst>
              <a:ext uri="{FF2B5EF4-FFF2-40B4-BE49-F238E27FC236}">
                <a16:creationId xmlns:a16="http://schemas.microsoft.com/office/drawing/2014/main" id="{090BB33F-515D-1E68-A880-38F80C0BCC5C}"/>
              </a:ext>
            </a:extLst>
          </p:cNvPr>
          <p:cNvSpPr/>
          <p:nvPr/>
        </p:nvSpPr>
        <p:spPr>
          <a:xfrm>
            <a:off x="5445547" y="2205658"/>
            <a:ext cx="1656184" cy="613225"/>
          </a:xfrm>
          <a:prstGeom prst="wedgeRectCallout">
            <a:avLst/>
          </a:prstGeom>
          <a:solidFill>
            <a:schemeClr val="bg2"/>
          </a:solidFill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200" b="1" dirty="0">
                <a:solidFill>
                  <a:schemeClr val="accent1">
                    <a:lumMod val="50000"/>
                  </a:schemeClr>
                </a:solidFill>
              </a:rPr>
              <a:t>اختيار اللغة </a:t>
            </a:r>
          </a:p>
        </p:txBody>
      </p:sp>
      <p:sp>
        <p:nvSpPr>
          <p:cNvPr id="5" name="مستطيل 4">
            <a:extLst>
              <a:ext uri="{FF2B5EF4-FFF2-40B4-BE49-F238E27FC236}">
                <a16:creationId xmlns:a16="http://schemas.microsoft.com/office/drawing/2014/main" id="{D09C28FE-9B76-0288-1BBD-6C49D5B79ABF}"/>
              </a:ext>
            </a:extLst>
          </p:cNvPr>
          <p:cNvSpPr/>
          <p:nvPr/>
        </p:nvSpPr>
        <p:spPr>
          <a:xfrm>
            <a:off x="5229523" y="2925738"/>
            <a:ext cx="864096" cy="397201"/>
          </a:xfrm>
          <a:prstGeom prst="rect">
            <a:avLst/>
          </a:prstGeom>
          <a:noFill/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ar-SA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5363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476995" y="1269554"/>
            <a:ext cx="8640960" cy="4501657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24DBDDF7-553B-EA92-50DB-B324650BA66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914" t="7983" r="2732" b="15846"/>
          <a:stretch/>
        </p:blipFill>
        <p:spPr>
          <a:xfrm>
            <a:off x="476995" y="1256787"/>
            <a:ext cx="8640960" cy="4501657"/>
          </a:xfrm>
          <a:prstGeom prst="rect">
            <a:avLst/>
          </a:prstGeom>
        </p:spPr>
      </p:pic>
      <p:sp>
        <p:nvSpPr>
          <p:cNvPr id="6" name="فقاعة الكلام: مستطيلة 5">
            <a:extLst>
              <a:ext uri="{FF2B5EF4-FFF2-40B4-BE49-F238E27FC236}">
                <a16:creationId xmlns:a16="http://schemas.microsoft.com/office/drawing/2014/main" id="{16F4B795-37A6-C75B-44DD-365E0AE66F7F}"/>
              </a:ext>
            </a:extLst>
          </p:cNvPr>
          <p:cNvSpPr/>
          <p:nvPr/>
        </p:nvSpPr>
        <p:spPr>
          <a:xfrm>
            <a:off x="5373539" y="2277666"/>
            <a:ext cx="1656184" cy="613225"/>
          </a:xfrm>
          <a:prstGeom prst="wedgeRectCallout">
            <a:avLst/>
          </a:prstGeom>
          <a:solidFill>
            <a:schemeClr val="bg2"/>
          </a:solidFill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200" b="1" dirty="0">
                <a:solidFill>
                  <a:schemeClr val="accent1">
                    <a:lumMod val="50000"/>
                  </a:schemeClr>
                </a:solidFill>
              </a:rPr>
              <a:t>قائمة منسدلة باللغتين : عربي , </a:t>
            </a:r>
            <a:r>
              <a:rPr lang="en-US" sz="1200" b="1" dirty="0">
                <a:solidFill>
                  <a:schemeClr val="accent1">
                    <a:lumMod val="50000"/>
                  </a:schemeClr>
                </a:solidFill>
              </a:rPr>
              <a:t>English</a:t>
            </a:r>
            <a:endParaRPr lang="ar-SA" sz="12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1334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7">
            <a:extLst>
              <a:ext uri="{FF2B5EF4-FFF2-40B4-BE49-F238E27FC236}">
                <a16:creationId xmlns:a16="http://schemas.microsoft.com/office/drawing/2014/main" id="{80B7B656-DEB5-9E0F-DCFD-779ECE5F79BD}"/>
              </a:ext>
            </a:extLst>
          </p:cNvPr>
          <p:cNvSpPr/>
          <p:nvPr/>
        </p:nvSpPr>
        <p:spPr>
          <a:xfrm>
            <a:off x="476995" y="1269554"/>
            <a:ext cx="8640960" cy="4501657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pic>
        <p:nvPicPr>
          <p:cNvPr id="2" name="صورة 1">
            <a:extLst>
              <a:ext uri="{FF2B5EF4-FFF2-40B4-BE49-F238E27FC236}">
                <a16:creationId xmlns:a16="http://schemas.microsoft.com/office/drawing/2014/main" id="{3237D280-EC49-E2A6-A579-75185E27AA1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914" t="7984" r="3322" b="14604"/>
          <a:stretch/>
        </p:blipFill>
        <p:spPr>
          <a:xfrm>
            <a:off x="485462" y="1269554"/>
            <a:ext cx="8632493" cy="4501657"/>
          </a:xfrm>
          <a:prstGeom prst="rect">
            <a:avLst/>
          </a:prstGeom>
        </p:spPr>
      </p:pic>
      <p:sp>
        <p:nvSpPr>
          <p:cNvPr id="3" name="فقاعة الكلام: مستطيلة 2">
            <a:extLst>
              <a:ext uri="{FF2B5EF4-FFF2-40B4-BE49-F238E27FC236}">
                <a16:creationId xmlns:a16="http://schemas.microsoft.com/office/drawing/2014/main" id="{EE240701-1A7C-2ECB-64D8-AF020BFF9FF3}"/>
              </a:ext>
            </a:extLst>
          </p:cNvPr>
          <p:cNvSpPr/>
          <p:nvPr/>
        </p:nvSpPr>
        <p:spPr>
          <a:xfrm>
            <a:off x="5373539" y="2565698"/>
            <a:ext cx="1656184" cy="613225"/>
          </a:xfrm>
          <a:prstGeom prst="wedgeRectCallout">
            <a:avLst/>
          </a:prstGeom>
          <a:solidFill>
            <a:schemeClr val="bg2"/>
          </a:solidFill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200" b="1" dirty="0">
                <a:solidFill>
                  <a:schemeClr val="accent1">
                    <a:lumMod val="50000"/>
                  </a:schemeClr>
                </a:solidFill>
              </a:rPr>
              <a:t>اختيار نوع الدعم</a:t>
            </a:r>
          </a:p>
        </p:txBody>
      </p:sp>
      <p:sp>
        <p:nvSpPr>
          <p:cNvPr id="4" name="مستطيل 3">
            <a:extLst>
              <a:ext uri="{FF2B5EF4-FFF2-40B4-BE49-F238E27FC236}">
                <a16:creationId xmlns:a16="http://schemas.microsoft.com/office/drawing/2014/main" id="{A9AD9050-4947-60A9-1CC7-BE9E28CC4C4D}"/>
              </a:ext>
            </a:extLst>
          </p:cNvPr>
          <p:cNvSpPr/>
          <p:nvPr/>
        </p:nvSpPr>
        <p:spPr>
          <a:xfrm>
            <a:off x="5337535" y="3231193"/>
            <a:ext cx="864096" cy="397201"/>
          </a:xfrm>
          <a:prstGeom prst="rect">
            <a:avLst/>
          </a:prstGeom>
          <a:noFill/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ar-SA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3585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7">
            <a:extLst>
              <a:ext uri="{FF2B5EF4-FFF2-40B4-BE49-F238E27FC236}">
                <a16:creationId xmlns:a16="http://schemas.microsoft.com/office/drawing/2014/main" id="{0B69202B-7818-BF7F-6100-7928529A9364}"/>
              </a:ext>
            </a:extLst>
          </p:cNvPr>
          <p:cNvSpPr/>
          <p:nvPr/>
        </p:nvSpPr>
        <p:spPr>
          <a:xfrm>
            <a:off x="476995" y="1269554"/>
            <a:ext cx="8640960" cy="4501657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pic>
        <p:nvPicPr>
          <p:cNvPr id="10" name="صورة 9">
            <a:extLst>
              <a:ext uri="{FF2B5EF4-FFF2-40B4-BE49-F238E27FC236}">
                <a16:creationId xmlns:a16="http://schemas.microsoft.com/office/drawing/2014/main" id="{F04AEFB9-8425-074C-5772-32430615C51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914" t="7984" r="3322" b="17439"/>
          <a:stretch/>
        </p:blipFill>
        <p:spPr>
          <a:xfrm>
            <a:off x="476995" y="1269554"/>
            <a:ext cx="8640960" cy="4501656"/>
          </a:xfrm>
          <a:prstGeom prst="rect">
            <a:avLst/>
          </a:prstGeom>
        </p:spPr>
      </p:pic>
      <p:sp>
        <p:nvSpPr>
          <p:cNvPr id="11" name="فقاعة الكلام: مستطيلة 10">
            <a:extLst>
              <a:ext uri="{FF2B5EF4-FFF2-40B4-BE49-F238E27FC236}">
                <a16:creationId xmlns:a16="http://schemas.microsoft.com/office/drawing/2014/main" id="{DB23B799-A05F-F9D0-66DC-DC95D0166968}"/>
              </a:ext>
            </a:extLst>
          </p:cNvPr>
          <p:cNvSpPr/>
          <p:nvPr/>
        </p:nvSpPr>
        <p:spPr>
          <a:xfrm>
            <a:off x="5445547" y="2637706"/>
            <a:ext cx="1656184" cy="613225"/>
          </a:xfrm>
          <a:prstGeom prst="wedgeRectCallout">
            <a:avLst/>
          </a:prstGeom>
          <a:solidFill>
            <a:schemeClr val="bg2"/>
          </a:solidFill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200" b="1" dirty="0">
                <a:solidFill>
                  <a:schemeClr val="accent1">
                    <a:lumMod val="50000"/>
                  </a:schemeClr>
                </a:solidFill>
              </a:rPr>
              <a:t>قائمة منسدلة بالخدمات</a:t>
            </a:r>
          </a:p>
        </p:txBody>
      </p:sp>
    </p:spTree>
    <p:extLst>
      <p:ext uri="{BB962C8B-B14F-4D97-AF65-F5344CB8AC3E}">
        <p14:creationId xmlns:p14="http://schemas.microsoft.com/office/powerpoint/2010/main" val="18370165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OFFICE THEME" val="fUHYVApP"/>
  <p:tag name="ARTICULATE_PROJECT_OPEN" val="0"/>
  <p:tag name="ARTICULATE_SLIDE_COUNT" val="51"/>
  <p:tag name="SP_AGENDA" val="Dividers 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C4792"/>
      </a:accent1>
      <a:accent2>
        <a:srgbClr val="808080"/>
      </a:accent2>
      <a:accent3>
        <a:srgbClr val="323CB8"/>
      </a:accent3>
      <a:accent4>
        <a:srgbClr val="959BE3"/>
      </a:accent4>
      <a:accent5>
        <a:srgbClr val="FC7100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C4792"/>
        </a:accent1>
        <a:accent2>
          <a:srgbClr val="808080"/>
        </a:accent2>
        <a:accent3>
          <a:srgbClr val="323CB8"/>
        </a:accent3>
        <a:accent4>
          <a:srgbClr val="959BE3"/>
        </a:accent4>
        <a:accent5>
          <a:srgbClr val="FC7100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B2B2B2"/>
    </a:custClr>
    <a:custClr name="Custom Color7">
      <a:srgbClr val="E2E2E2"/>
    </a:custClr>
  </a:custClrLst>
  <a:extLst>
    <a:ext uri="{05A4C25C-085E-4340-85A3-A5531E510DB2}">
      <thm15:themeFamily xmlns:thm15="http://schemas.microsoft.com/office/thememl/2012/main" name="3898WC_CF.potx" id="{C17113AA-233C-4DAF-BB98-01808A117DDC}" vid="{D6693BBC-49B8-4F42-B385-603FDC5CD0B5}"/>
    </a:ext>
  </a:extLst>
</a:theme>
</file>

<file path=ppt/theme/theme4.xml><?xml version="1.0" encoding="utf-8"?>
<a:theme xmlns:a="http://schemas.openxmlformats.org/drawingml/2006/main" name="2_Standard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3D9BE908-1D2C-46DB-81E1-9713435274C2}" vid="{3AEB53C2-8BEF-4C68-BF79-4FFCC0BA90A5}"/>
    </a:ext>
  </a:extLst>
</a:theme>
</file>

<file path=ppt/theme/theme5.xml><?xml version="1.0" encoding="utf-8"?>
<a:theme xmlns:a="http://schemas.openxmlformats.org/drawingml/2006/main" name="2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C4792"/>
      </a:accent1>
      <a:accent2>
        <a:srgbClr val="808080"/>
      </a:accent2>
      <a:accent3>
        <a:srgbClr val="323CB8"/>
      </a:accent3>
      <a:accent4>
        <a:srgbClr val="959BE3"/>
      </a:accent4>
      <a:accent5>
        <a:srgbClr val="FC7100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C4792"/>
        </a:accent1>
        <a:accent2>
          <a:srgbClr val="808080"/>
        </a:accent2>
        <a:accent3>
          <a:srgbClr val="323CB8"/>
        </a:accent3>
        <a:accent4>
          <a:srgbClr val="959BE3"/>
        </a:accent4>
        <a:accent5>
          <a:srgbClr val="FC7100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B2B2B2"/>
    </a:custClr>
    <a:custClr name="Custom Color7">
      <a:srgbClr val="E2E2E2"/>
    </a:custClr>
  </a:custClrLst>
  <a:extLst>
    <a:ext uri="{05A4C25C-085E-4340-85A3-A5531E510DB2}">
      <thm15:themeFamily xmlns:thm15="http://schemas.microsoft.com/office/thememl/2012/main" name="3898WC_CF.potx" id="{C17113AA-233C-4DAF-BB98-01808A117DDC}" vid="{D6693BBC-49B8-4F42-B385-603FDC5CD0B5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686</TotalTime>
  <Words>137</Words>
  <Application>Microsoft Office PowerPoint</Application>
  <PresentationFormat>مخصص</PresentationFormat>
  <Paragraphs>26</Paragraphs>
  <Slides>17</Slides>
  <Notes>0</Notes>
  <HiddenSlides>0</HiddenSlides>
  <MMClips>0</MMClips>
  <ScaleCrop>false</ScaleCrop>
  <HeadingPairs>
    <vt:vector size="8" baseType="variant">
      <vt:variant>
        <vt:lpstr>الخطوط المستخدمة</vt:lpstr>
      </vt:variant>
      <vt:variant>
        <vt:i4>10</vt:i4>
      </vt:variant>
      <vt:variant>
        <vt:lpstr>نسق</vt:lpstr>
      </vt:variant>
      <vt:variant>
        <vt:i4>5</vt:i4>
      </vt:variant>
      <vt:variant>
        <vt:lpstr>خوادم OLE مضمنة</vt:lpstr>
      </vt:variant>
      <vt:variant>
        <vt:i4>1</vt:i4>
      </vt:variant>
      <vt:variant>
        <vt:lpstr>عناوين الشرائح</vt:lpstr>
      </vt:variant>
      <vt:variant>
        <vt:i4>17</vt:i4>
      </vt:variant>
    </vt:vector>
  </HeadingPairs>
  <TitlesOfParts>
    <vt:vector size="33" baseType="lpstr">
      <vt:lpstr>Arial</vt:lpstr>
      <vt:lpstr>Calibri</vt:lpstr>
      <vt:lpstr>EG SS TWO LIGHT</vt:lpstr>
      <vt:lpstr>Georgia</vt:lpstr>
      <vt:lpstr>Helvetica Neue</vt:lpstr>
      <vt:lpstr>Roboto</vt:lpstr>
      <vt:lpstr>Segoe UI</vt:lpstr>
      <vt:lpstr>Times New Roman</vt:lpstr>
      <vt:lpstr>Trebuchet MS</vt:lpstr>
      <vt:lpstr>Wingdings</vt:lpstr>
      <vt:lpstr>Office Theme</vt:lpstr>
      <vt:lpstr>2_Custom Design</vt:lpstr>
      <vt:lpstr>White</vt:lpstr>
      <vt:lpstr>2_Standard Theme</vt:lpstr>
      <vt:lpstr>2_White</vt:lpstr>
      <vt:lpstr>think-cell Slide</vt:lpstr>
      <vt:lpstr>دعم إدارة الاداء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C</dc:creator>
  <cp:lastModifiedBy>Albrahim.2020@outlook.sa</cp:lastModifiedBy>
  <cp:revision>1185</cp:revision>
  <cp:lastPrinted>2023-03-07T04:31:10Z</cp:lastPrinted>
  <dcterms:created xsi:type="dcterms:W3CDTF">2017-07-11T07:14:40Z</dcterms:created>
  <dcterms:modified xsi:type="dcterms:W3CDTF">2023-05-23T14:56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21672C0A-FA0E-48D1-B27C-5994F1227496</vt:lpwstr>
  </property>
  <property fmtid="{D5CDD505-2E9C-101B-9397-08002B2CF9AE}" pid="3" name="ArticulatePath">
    <vt:lpwstr>slideproof demo</vt:lpwstr>
  </property>
</Properties>
</file>